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15"/>
  </p:notesMasterIdLst>
  <p:handoutMasterIdLst>
    <p:handoutMasterId r:id="rId16"/>
  </p:handoutMasterIdLst>
  <p:sldIdLst>
    <p:sldId id="532" r:id="rId2"/>
    <p:sldId id="533" r:id="rId3"/>
    <p:sldId id="534" r:id="rId4"/>
    <p:sldId id="490" r:id="rId5"/>
    <p:sldId id="492" r:id="rId6"/>
    <p:sldId id="535" r:id="rId7"/>
    <p:sldId id="448" r:id="rId8"/>
    <p:sldId id="449" r:id="rId9"/>
    <p:sldId id="531" r:id="rId10"/>
    <p:sldId id="500" r:id="rId11"/>
    <p:sldId id="536" r:id="rId12"/>
    <p:sldId id="537" r:id="rId13"/>
    <p:sldId id="547" r:id="rId14"/>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44" autoAdjust="0"/>
    <p:restoredTop sz="80272" autoAdjust="0"/>
  </p:normalViewPr>
  <p:slideViewPr>
    <p:cSldViewPr>
      <p:cViewPr varScale="1">
        <p:scale>
          <a:sx n="101" d="100"/>
          <a:sy n="101" d="100"/>
        </p:scale>
        <p:origin x="1136" y="200"/>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BCED7BB8-DEB5-4F92-B4AB-8FAA3206C294}">
      <dgm:prSet/>
      <dgm:spPr/>
      <dgm:t>
        <a:bodyPr/>
        <a:lstStyle/>
        <a:p>
          <a:pPr rtl="0"/>
          <a:r>
            <a:rPr lang="en-CA" dirty="0"/>
            <a:t>Create new return</a:t>
          </a:r>
        </a:p>
      </dgm:t>
    </dgm:pt>
    <dgm:pt modelId="{19192E39-CBB0-4E45-BB36-38DD6C39D4E8}" type="parTrans" cxnId="{D0A81350-A200-4445-8F26-F180A38F23E2}">
      <dgm:prSet/>
      <dgm:spPr/>
      <dgm:t>
        <a:bodyPr/>
        <a:lstStyle/>
        <a:p>
          <a:endParaRPr lang="en-US"/>
        </a:p>
      </dgm:t>
    </dgm:pt>
    <dgm:pt modelId="{E0B99025-BA52-4969-A69A-5870B44D96F1}" type="sibTrans" cxnId="{D0A81350-A200-4445-8F26-F180A38F23E2}">
      <dgm:prSet/>
      <dgm:spPr/>
      <dgm:t>
        <a:bodyPr/>
        <a:lstStyle/>
        <a:p>
          <a:endParaRPr lang="en-US"/>
        </a:p>
      </dgm:t>
    </dgm:pt>
    <dgm:pt modelId="{61AEFD12-5743-496F-AC38-DEC9C27A4F93}">
      <dgm:prSet/>
      <dgm:spPr/>
      <dgm:t>
        <a:bodyPr/>
        <a:lstStyle/>
        <a:p>
          <a:pPr rtl="0"/>
          <a:r>
            <a:rPr lang="en-CA" dirty="0"/>
            <a:t>Enter default data (Province, Elections Canada, etc.)</a:t>
          </a:r>
        </a:p>
      </dgm:t>
    </dgm:pt>
    <dgm:pt modelId="{0C958271-542F-47E7-86F1-7C1D2E5550AF}" type="parTrans" cxnId="{ABC06DEE-6747-4BC9-A62B-52522226AEBF}">
      <dgm:prSet/>
      <dgm:spPr/>
      <dgm:t>
        <a:bodyPr/>
        <a:lstStyle/>
        <a:p>
          <a:endParaRPr lang="en-US"/>
        </a:p>
      </dgm:t>
    </dgm:pt>
    <dgm:pt modelId="{8FC5438E-F226-403E-80CA-F7545E6277E3}" type="sibTrans" cxnId="{ABC06DEE-6747-4BC9-A62B-52522226AEBF}">
      <dgm:prSet/>
      <dgm:spPr/>
      <dgm:t>
        <a:bodyPr/>
        <a:lstStyle/>
        <a:p>
          <a:endParaRPr lang="en-US"/>
        </a:p>
      </dgm:t>
    </dgm:pt>
    <dgm:pt modelId="{2ED06D65-A916-4E3A-B4A5-9A62CA2A0796}">
      <dgm:prSet/>
      <dgm:spPr/>
      <dgm:t>
        <a:bodyPr/>
        <a:lstStyle/>
        <a:p>
          <a:pPr rtl="0"/>
          <a:r>
            <a:rPr lang="en-CA" dirty="0"/>
            <a:t>Open default forms (T4, T5, etc.)</a:t>
          </a:r>
        </a:p>
      </dgm:t>
    </dgm:pt>
    <dgm:pt modelId="{8A686D38-217F-4AD7-AE97-36C40981DD3C}" type="parTrans" cxnId="{C7FF89F3-5327-4DC0-8171-0A317E32A46A}">
      <dgm:prSet/>
      <dgm:spPr/>
      <dgm:t>
        <a:bodyPr/>
        <a:lstStyle/>
        <a:p>
          <a:endParaRPr lang="en-US"/>
        </a:p>
      </dgm:t>
    </dgm:pt>
    <dgm:pt modelId="{56F2C142-E209-44EE-8C8A-BA8C8AABA568}" type="sibTrans" cxnId="{C7FF89F3-5327-4DC0-8171-0A317E32A46A}">
      <dgm:prSet/>
      <dgm:spPr/>
      <dgm:t>
        <a:bodyPr/>
        <a:lstStyle/>
        <a:p>
          <a:endParaRPr lang="en-US"/>
        </a:p>
      </dgm:t>
    </dgm:pt>
    <dgm:pt modelId="{40564DCB-023C-411E-BE7C-F981C6F4DAE4}">
      <dgm:prSet/>
      <dgm:spPr/>
      <dgm:t>
        <a:bodyPr/>
        <a:lstStyle/>
        <a:p>
          <a:pPr rtl="0"/>
          <a:r>
            <a:rPr lang="en-CA" dirty="0"/>
            <a:t>Save file</a:t>
          </a:r>
        </a:p>
      </dgm:t>
    </dgm:pt>
    <dgm:pt modelId="{1EC49ECC-D0DA-423E-8A9E-C94D89F86906}" type="parTrans" cxnId="{7D8E20AF-1FD4-4EE7-8BFC-BEB7049D67C7}">
      <dgm:prSet/>
      <dgm:spPr/>
      <dgm:t>
        <a:bodyPr/>
        <a:lstStyle/>
        <a:p>
          <a:endParaRPr lang="en-US"/>
        </a:p>
      </dgm:t>
    </dgm:pt>
    <dgm:pt modelId="{A95F5F6B-117B-4599-BD3F-CAB87107BC49}" type="sibTrans" cxnId="{7D8E20AF-1FD4-4EE7-8BFC-BEB7049D67C7}">
      <dgm:prSet/>
      <dgm:spPr/>
      <dgm:t>
        <a:bodyPr/>
        <a:lstStyle/>
        <a:p>
          <a:endParaRPr lang="en-US"/>
        </a:p>
      </dgm:t>
    </dgm:pt>
    <dgm:pt modelId="{73EB53C1-F494-4647-9BCE-BFF143D0B44D}">
      <dgm:prSet/>
      <dgm:spPr/>
      <dgm:t>
        <a:bodyPr/>
        <a:lstStyle/>
        <a:p>
          <a:pPr rtl="0"/>
          <a:r>
            <a:rPr lang="en-CA" dirty="0"/>
            <a:t>Enter file name in Module &gt; Templates</a:t>
          </a:r>
        </a:p>
      </dgm:t>
    </dgm:pt>
    <dgm:pt modelId="{AEB7AC21-813E-402D-BEC3-772D302D5DA5}" type="parTrans" cxnId="{48261EEE-E18C-4B44-B3C4-2993423AFF51}">
      <dgm:prSet/>
      <dgm:spPr/>
      <dgm:t>
        <a:bodyPr/>
        <a:lstStyle/>
        <a:p>
          <a:endParaRPr lang="en-US"/>
        </a:p>
      </dgm:t>
    </dgm:pt>
    <dgm:pt modelId="{1F342EE4-7DBB-4193-BD35-2D59365C3D85}" type="sibTrans" cxnId="{48261EEE-E18C-4B44-B3C4-2993423AFF51}">
      <dgm:prSet/>
      <dgm:spPr/>
      <dgm:t>
        <a:bodyPr/>
        <a:lstStyle/>
        <a:p>
          <a:endParaRPr lang="en-US"/>
        </a:p>
      </dgm:t>
    </dgm:pt>
    <dgm:pt modelId="{3CB6F0BF-076D-9F48-9A46-60028B6FE005}">
      <dgm:prSet custT="1"/>
      <dgm:spPr/>
      <dgm:t>
        <a:bodyPr/>
        <a:lstStyle/>
        <a:p>
          <a:pPr rtl="0"/>
          <a:endParaRPr lang="en-CA" sz="3600" dirty="0"/>
        </a:p>
      </dgm:t>
    </dgm:pt>
    <dgm:pt modelId="{02B95B21-F90C-F54E-8161-72E219C98A93}" type="sibTrans" cxnId="{C5848D0B-5FD4-F24C-8859-2A2FE4A00863}">
      <dgm:prSet/>
      <dgm:spPr/>
      <dgm:t>
        <a:bodyPr/>
        <a:lstStyle/>
        <a:p>
          <a:endParaRPr lang="en-CA"/>
        </a:p>
      </dgm:t>
    </dgm:pt>
    <dgm:pt modelId="{63DF646F-8161-E746-81DE-E736BB880F3B}" type="parTrans" cxnId="{C5848D0B-5FD4-F24C-8859-2A2FE4A00863}">
      <dgm:prSet/>
      <dgm:spPr/>
      <dgm:t>
        <a:bodyPr/>
        <a:lstStyle/>
        <a:p>
          <a:endParaRPr lang="en-CA"/>
        </a:p>
      </dgm:t>
    </dgm:pt>
    <dgm:pt modelId="{3847C158-F703-2043-A592-AD43CDE75978}" type="pres">
      <dgm:prSet presAssocID="{02BA0D8E-884F-D545-BFF7-95207C181DAB}" presName="vert0" presStyleCnt="0">
        <dgm:presLayoutVars>
          <dgm:dir/>
          <dgm:animOne val="branch"/>
          <dgm:animLvl val="lvl"/>
        </dgm:presLayoutVars>
      </dgm:prSet>
      <dgm:spPr/>
    </dgm:pt>
    <dgm:pt modelId="{541D71A5-FD20-F545-9F5D-7D4C498B83EC}" type="pres">
      <dgm:prSet presAssocID="{3CB6F0BF-076D-9F48-9A46-60028B6FE005}" presName="thickLine" presStyleLbl="alignNode1" presStyleIdx="0" presStyleCnt="1"/>
      <dgm:spPr/>
    </dgm:pt>
    <dgm:pt modelId="{4E41A018-5829-1042-A64B-F04DC68320CB}" type="pres">
      <dgm:prSet presAssocID="{3CB6F0BF-076D-9F48-9A46-60028B6FE005}" presName="horz1" presStyleCnt="0"/>
      <dgm:spPr/>
    </dgm:pt>
    <dgm:pt modelId="{2D0DC994-48C6-6A4F-873D-66E35DF6160D}" type="pres">
      <dgm:prSet presAssocID="{3CB6F0BF-076D-9F48-9A46-60028B6FE005}" presName="tx1" presStyleLbl="revTx" presStyleIdx="0" presStyleCnt="6"/>
      <dgm:spPr/>
    </dgm:pt>
    <dgm:pt modelId="{1A09282D-3ED9-E842-A214-B189541603FA}" type="pres">
      <dgm:prSet presAssocID="{3CB6F0BF-076D-9F48-9A46-60028B6FE005}" presName="vert1" presStyleCnt="0"/>
      <dgm:spPr/>
    </dgm:pt>
    <dgm:pt modelId="{39BC862C-A516-D848-BCE7-4E622459A54B}" type="pres">
      <dgm:prSet presAssocID="{BCED7BB8-DEB5-4F92-B4AB-8FAA3206C294}" presName="vertSpace2a" presStyleCnt="0"/>
      <dgm:spPr/>
    </dgm:pt>
    <dgm:pt modelId="{304CCFDE-EFF1-654F-BDC9-50B773E33112}" type="pres">
      <dgm:prSet presAssocID="{BCED7BB8-DEB5-4F92-B4AB-8FAA3206C294}" presName="horz2" presStyleCnt="0"/>
      <dgm:spPr/>
    </dgm:pt>
    <dgm:pt modelId="{8E51CB55-08D0-E544-9261-E4C02F471ED4}" type="pres">
      <dgm:prSet presAssocID="{BCED7BB8-DEB5-4F92-B4AB-8FAA3206C294}" presName="horzSpace2" presStyleCnt="0"/>
      <dgm:spPr/>
    </dgm:pt>
    <dgm:pt modelId="{D15B1013-65AB-CD45-99CF-4402853A1481}" type="pres">
      <dgm:prSet presAssocID="{BCED7BB8-DEB5-4F92-B4AB-8FAA3206C294}" presName="tx2" presStyleLbl="revTx" presStyleIdx="1" presStyleCnt="6"/>
      <dgm:spPr/>
    </dgm:pt>
    <dgm:pt modelId="{28437EF8-0B17-554E-B589-76B5AA0B00D0}" type="pres">
      <dgm:prSet presAssocID="{BCED7BB8-DEB5-4F92-B4AB-8FAA3206C294}" presName="vert2" presStyleCnt="0"/>
      <dgm:spPr/>
    </dgm:pt>
    <dgm:pt modelId="{B282F22D-4E97-6A41-8183-0319AD1BBA0B}" type="pres">
      <dgm:prSet presAssocID="{BCED7BB8-DEB5-4F92-B4AB-8FAA3206C294}" presName="thinLine2b" presStyleLbl="callout" presStyleIdx="0" presStyleCnt="5"/>
      <dgm:spPr/>
    </dgm:pt>
    <dgm:pt modelId="{B71D43BF-6701-664F-AEE4-F9AFF31C707D}" type="pres">
      <dgm:prSet presAssocID="{BCED7BB8-DEB5-4F92-B4AB-8FAA3206C294}" presName="vertSpace2b" presStyleCnt="0"/>
      <dgm:spPr/>
    </dgm:pt>
    <dgm:pt modelId="{EFFDD7BA-EEA6-7F42-A225-08FABB2C283E}" type="pres">
      <dgm:prSet presAssocID="{61AEFD12-5743-496F-AC38-DEC9C27A4F93}" presName="horz2" presStyleCnt="0"/>
      <dgm:spPr/>
    </dgm:pt>
    <dgm:pt modelId="{B11ED979-8702-484B-B303-E0DDB5A8884D}" type="pres">
      <dgm:prSet presAssocID="{61AEFD12-5743-496F-AC38-DEC9C27A4F93}" presName="horzSpace2" presStyleCnt="0"/>
      <dgm:spPr/>
    </dgm:pt>
    <dgm:pt modelId="{4CBF8DD6-C361-914B-BD3B-70BF33976812}" type="pres">
      <dgm:prSet presAssocID="{61AEFD12-5743-496F-AC38-DEC9C27A4F93}" presName="tx2" presStyleLbl="revTx" presStyleIdx="2" presStyleCnt="6"/>
      <dgm:spPr/>
    </dgm:pt>
    <dgm:pt modelId="{404E1FFF-D2AC-F145-88D8-4472B91827C9}" type="pres">
      <dgm:prSet presAssocID="{61AEFD12-5743-496F-AC38-DEC9C27A4F93}" presName="vert2" presStyleCnt="0"/>
      <dgm:spPr/>
    </dgm:pt>
    <dgm:pt modelId="{93B5460F-07EF-8740-B3C5-C490190A423A}" type="pres">
      <dgm:prSet presAssocID="{61AEFD12-5743-496F-AC38-DEC9C27A4F93}" presName="thinLine2b" presStyleLbl="callout" presStyleIdx="1" presStyleCnt="5"/>
      <dgm:spPr/>
    </dgm:pt>
    <dgm:pt modelId="{CC58D7F3-9375-5D42-9F65-3ED8BC1FC4D2}" type="pres">
      <dgm:prSet presAssocID="{61AEFD12-5743-496F-AC38-DEC9C27A4F93}" presName="vertSpace2b" presStyleCnt="0"/>
      <dgm:spPr/>
    </dgm:pt>
    <dgm:pt modelId="{526DD056-313A-F647-8FAA-B81AF87E906A}" type="pres">
      <dgm:prSet presAssocID="{2ED06D65-A916-4E3A-B4A5-9A62CA2A0796}" presName="horz2" presStyleCnt="0"/>
      <dgm:spPr/>
    </dgm:pt>
    <dgm:pt modelId="{F0BB610E-A43C-0140-8B61-BFBBB9C5B21B}" type="pres">
      <dgm:prSet presAssocID="{2ED06D65-A916-4E3A-B4A5-9A62CA2A0796}" presName="horzSpace2" presStyleCnt="0"/>
      <dgm:spPr/>
    </dgm:pt>
    <dgm:pt modelId="{CF6BD5B1-BE8F-A045-897A-F72B5E3CAD43}" type="pres">
      <dgm:prSet presAssocID="{2ED06D65-A916-4E3A-B4A5-9A62CA2A0796}" presName="tx2" presStyleLbl="revTx" presStyleIdx="3" presStyleCnt="6"/>
      <dgm:spPr/>
    </dgm:pt>
    <dgm:pt modelId="{8F18C9F9-DAE6-4748-9AE7-A114CAAF1A3B}" type="pres">
      <dgm:prSet presAssocID="{2ED06D65-A916-4E3A-B4A5-9A62CA2A0796}" presName="vert2" presStyleCnt="0"/>
      <dgm:spPr/>
    </dgm:pt>
    <dgm:pt modelId="{AB7F71FE-D0D8-DB4E-9183-A453CD24181D}" type="pres">
      <dgm:prSet presAssocID="{2ED06D65-A916-4E3A-B4A5-9A62CA2A0796}" presName="thinLine2b" presStyleLbl="callout" presStyleIdx="2" presStyleCnt="5"/>
      <dgm:spPr/>
    </dgm:pt>
    <dgm:pt modelId="{97134469-EF7F-6544-8ADF-B680044BCF19}" type="pres">
      <dgm:prSet presAssocID="{2ED06D65-A916-4E3A-B4A5-9A62CA2A0796}" presName="vertSpace2b" presStyleCnt="0"/>
      <dgm:spPr/>
    </dgm:pt>
    <dgm:pt modelId="{30503AA4-C623-5A46-B940-A80E1034AE86}" type="pres">
      <dgm:prSet presAssocID="{40564DCB-023C-411E-BE7C-F981C6F4DAE4}" presName="horz2" presStyleCnt="0"/>
      <dgm:spPr/>
    </dgm:pt>
    <dgm:pt modelId="{EC4F2F74-FCB3-8B4F-9C0B-DD4518877A74}" type="pres">
      <dgm:prSet presAssocID="{40564DCB-023C-411E-BE7C-F981C6F4DAE4}" presName="horzSpace2" presStyleCnt="0"/>
      <dgm:spPr/>
    </dgm:pt>
    <dgm:pt modelId="{7F586AF6-99ED-7F4F-9F54-0AA5D025C819}" type="pres">
      <dgm:prSet presAssocID="{40564DCB-023C-411E-BE7C-F981C6F4DAE4}" presName="tx2" presStyleLbl="revTx" presStyleIdx="4" presStyleCnt="6"/>
      <dgm:spPr/>
    </dgm:pt>
    <dgm:pt modelId="{5028812F-FF96-4843-AE1D-EDD8C7BA3941}" type="pres">
      <dgm:prSet presAssocID="{40564DCB-023C-411E-BE7C-F981C6F4DAE4}" presName="vert2" presStyleCnt="0"/>
      <dgm:spPr/>
    </dgm:pt>
    <dgm:pt modelId="{0D05E7CA-4690-3746-80EC-339E36AA23C6}" type="pres">
      <dgm:prSet presAssocID="{40564DCB-023C-411E-BE7C-F981C6F4DAE4}" presName="thinLine2b" presStyleLbl="callout" presStyleIdx="3" presStyleCnt="5"/>
      <dgm:spPr/>
    </dgm:pt>
    <dgm:pt modelId="{94AD4715-10E3-E04E-80FC-936AB44F8AFC}" type="pres">
      <dgm:prSet presAssocID="{40564DCB-023C-411E-BE7C-F981C6F4DAE4}" presName="vertSpace2b" presStyleCnt="0"/>
      <dgm:spPr/>
    </dgm:pt>
    <dgm:pt modelId="{2D23E20E-3175-D848-BA71-8A8A17104E5C}" type="pres">
      <dgm:prSet presAssocID="{73EB53C1-F494-4647-9BCE-BFF143D0B44D}" presName="horz2" presStyleCnt="0"/>
      <dgm:spPr/>
    </dgm:pt>
    <dgm:pt modelId="{30700DBC-4A68-9B43-B8AD-8649D6392A73}" type="pres">
      <dgm:prSet presAssocID="{73EB53C1-F494-4647-9BCE-BFF143D0B44D}" presName="horzSpace2" presStyleCnt="0"/>
      <dgm:spPr/>
    </dgm:pt>
    <dgm:pt modelId="{8E841FFD-4AB9-5845-8845-2EE321CDF61F}" type="pres">
      <dgm:prSet presAssocID="{73EB53C1-F494-4647-9BCE-BFF143D0B44D}" presName="tx2" presStyleLbl="revTx" presStyleIdx="5" presStyleCnt="6"/>
      <dgm:spPr/>
    </dgm:pt>
    <dgm:pt modelId="{6DFF2415-7500-DB4D-B62F-7A745403BF01}" type="pres">
      <dgm:prSet presAssocID="{73EB53C1-F494-4647-9BCE-BFF143D0B44D}" presName="vert2" presStyleCnt="0"/>
      <dgm:spPr/>
    </dgm:pt>
    <dgm:pt modelId="{4DC9BEA0-D9C0-C243-97A0-EB78FCCDBA87}" type="pres">
      <dgm:prSet presAssocID="{73EB53C1-F494-4647-9BCE-BFF143D0B44D}" presName="thinLine2b" presStyleLbl="callout" presStyleIdx="4" presStyleCnt="5"/>
      <dgm:spPr/>
    </dgm:pt>
    <dgm:pt modelId="{ABE89D53-5474-1D41-9C51-1BF78E08DAF7}" type="pres">
      <dgm:prSet presAssocID="{73EB53C1-F494-4647-9BCE-BFF143D0B44D}" presName="vertSpace2b" presStyleCnt="0"/>
      <dgm:spPr/>
    </dgm:pt>
  </dgm:ptLst>
  <dgm:cxnLst>
    <dgm:cxn modelId="{E1F97E0B-1CD5-DB40-BCE3-71B7A772DAB2}" type="presOf" srcId="{2ED06D65-A916-4E3A-B4A5-9A62CA2A0796}" destId="{CF6BD5B1-BE8F-A045-897A-F72B5E3CAD43}" srcOrd="0" destOrd="0" presId="urn:microsoft.com/office/officeart/2008/layout/LinedList"/>
    <dgm:cxn modelId="{C5848D0B-5FD4-F24C-8859-2A2FE4A00863}" srcId="{02BA0D8E-884F-D545-BFF7-95207C181DAB}" destId="{3CB6F0BF-076D-9F48-9A46-60028B6FE005}" srcOrd="0" destOrd="0" parTransId="{63DF646F-8161-E746-81DE-E736BB880F3B}" sibTransId="{02B95B21-F90C-F54E-8161-72E219C98A93}"/>
    <dgm:cxn modelId="{2149AC2C-FB71-BB44-A41D-8E1C866AF3B2}" type="presOf" srcId="{73EB53C1-F494-4647-9BCE-BFF143D0B44D}" destId="{8E841FFD-4AB9-5845-8845-2EE321CDF61F}" srcOrd="0" destOrd="0" presId="urn:microsoft.com/office/officeart/2008/layout/LinedList"/>
    <dgm:cxn modelId="{36CE9733-4C79-5B46-B0CA-4D5C4D052D5D}" type="presOf" srcId="{40564DCB-023C-411E-BE7C-F981C6F4DAE4}" destId="{7F586AF6-99ED-7F4F-9F54-0AA5D025C819}" srcOrd="0" destOrd="0" presId="urn:microsoft.com/office/officeart/2008/layout/LinedList"/>
    <dgm:cxn modelId="{3119683D-CB94-AE4E-90DD-1229DD4B15EA}" type="presOf" srcId="{02BA0D8E-884F-D545-BFF7-95207C181DAB}" destId="{3847C158-F703-2043-A592-AD43CDE75978}" srcOrd="0" destOrd="0" presId="urn:microsoft.com/office/officeart/2008/layout/LinedList"/>
    <dgm:cxn modelId="{30B11F40-5A8F-1A48-8585-3B8315086245}" type="presOf" srcId="{BCED7BB8-DEB5-4F92-B4AB-8FAA3206C294}" destId="{D15B1013-65AB-CD45-99CF-4402853A1481}" srcOrd="0" destOrd="0" presId="urn:microsoft.com/office/officeart/2008/layout/LinedList"/>
    <dgm:cxn modelId="{D0A81350-A200-4445-8F26-F180A38F23E2}" srcId="{3CB6F0BF-076D-9F48-9A46-60028B6FE005}" destId="{BCED7BB8-DEB5-4F92-B4AB-8FAA3206C294}" srcOrd="0" destOrd="0" parTransId="{19192E39-CBB0-4E45-BB36-38DD6C39D4E8}" sibTransId="{E0B99025-BA52-4969-A69A-5870B44D96F1}"/>
    <dgm:cxn modelId="{7CD8C65D-0134-6F45-A81E-38769CB8A396}" type="presOf" srcId="{61AEFD12-5743-496F-AC38-DEC9C27A4F93}" destId="{4CBF8DD6-C361-914B-BD3B-70BF33976812}" srcOrd="0" destOrd="0" presId="urn:microsoft.com/office/officeart/2008/layout/LinedList"/>
    <dgm:cxn modelId="{7D8E20AF-1FD4-4EE7-8BFC-BEB7049D67C7}" srcId="{3CB6F0BF-076D-9F48-9A46-60028B6FE005}" destId="{40564DCB-023C-411E-BE7C-F981C6F4DAE4}" srcOrd="3" destOrd="0" parTransId="{1EC49ECC-D0DA-423E-8A9E-C94D89F86906}" sibTransId="{A95F5F6B-117B-4599-BD3F-CAB87107BC49}"/>
    <dgm:cxn modelId="{096359DE-1B17-8D4F-8F67-885511AAAD04}" type="presOf" srcId="{3CB6F0BF-076D-9F48-9A46-60028B6FE005}" destId="{2D0DC994-48C6-6A4F-873D-66E35DF6160D}" srcOrd="0" destOrd="0" presId="urn:microsoft.com/office/officeart/2008/layout/LinedList"/>
    <dgm:cxn modelId="{48261EEE-E18C-4B44-B3C4-2993423AFF51}" srcId="{3CB6F0BF-076D-9F48-9A46-60028B6FE005}" destId="{73EB53C1-F494-4647-9BCE-BFF143D0B44D}" srcOrd="4" destOrd="0" parTransId="{AEB7AC21-813E-402D-BEC3-772D302D5DA5}" sibTransId="{1F342EE4-7DBB-4193-BD35-2D59365C3D85}"/>
    <dgm:cxn modelId="{ABC06DEE-6747-4BC9-A62B-52522226AEBF}" srcId="{3CB6F0BF-076D-9F48-9A46-60028B6FE005}" destId="{61AEFD12-5743-496F-AC38-DEC9C27A4F93}" srcOrd="1" destOrd="0" parTransId="{0C958271-542F-47E7-86F1-7C1D2E5550AF}" sibTransId="{8FC5438E-F226-403E-80CA-F7545E6277E3}"/>
    <dgm:cxn modelId="{C7FF89F3-5327-4DC0-8171-0A317E32A46A}" srcId="{3CB6F0BF-076D-9F48-9A46-60028B6FE005}" destId="{2ED06D65-A916-4E3A-B4A5-9A62CA2A0796}" srcOrd="2" destOrd="0" parTransId="{8A686D38-217F-4AD7-AE97-36C40981DD3C}" sibTransId="{56F2C142-E209-44EE-8C8A-BA8C8AABA568}"/>
    <dgm:cxn modelId="{EE818544-A533-C545-A7DB-39E6EF69B511}" type="presParOf" srcId="{3847C158-F703-2043-A592-AD43CDE75978}" destId="{541D71A5-FD20-F545-9F5D-7D4C498B83EC}" srcOrd="0" destOrd="0" presId="urn:microsoft.com/office/officeart/2008/layout/LinedList"/>
    <dgm:cxn modelId="{0BA1F021-444F-3A4F-A077-B5E660B82894}" type="presParOf" srcId="{3847C158-F703-2043-A592-AD43CDE75978}" destId="{4E41A018-5829-1042-A64B-F04DC68320CB}" srcOrd="1" destOrd="0" presId="urn:microsoft.com/office/officeart/2008/layout/LinedList"/>
    <dgm:cxn modelId="{558EC4BB-1B54-EE47-A3CF-84B991CF4FE1}" type="presParOf" srcId="{4E41A018-5829-1042-A64B-F04DC68320CB}" destId="{2D0DC994-48C6-6A4F-873D-66E35DF6160D}" srcOrd="0" destOrd="0" presId="urn:microsoft.com/office/officeart/2008/layout/LinedList"/>
    <dgm:cxn modelId="{50B0501E-F4BF-EA43-B7DA-66DE67E1C0A6}" type="presParOf" srcId="{4E41A018-5829-1042-A64B-F04DC68320CB}" destId="{1A09282D-3ED9-E842-A214-B189541603FA}" srcOrd="1" destOrd="0" presId="urn:microsoft.com/office/officeart/2008/layout/LinedList"/>
    <dgm:cxn modelId="{7EF39F74-5D98-4C4B-BA6E-A3978C7659B4}" type="presParOf" srcId="{1A09282D-3ED9-E842-A214-B189541603FA}" destId="{39BC862C-A516-D848-BCE7-4E622459A54B}" srcOrd="0" destOrd="0" presId="urn:microsoft.com/office/officeart/2008/layout/LinedList"/>
    <dgm:cxn modelId="{CD21168F-9815-B446-9489-B893DC351EA6}" type="presParOf" srcId="{1A09282D-3ED9-E842-A214-B189541603FA}" destId="{304CCFDE-EFF1-654F-BDC9-50B773E33112}" srcOrd="1" destOrd="0" presId="urn:microsoft.com/office/officeart/2008/layout/LinedList"/>
    <dgm:cxn modelId="{08870DBB-BE2D-024E-B1CB-C060D1033E07}" type="presParOf" srcId="{304CCFDE-EFF1-654F-BDC9-50B773E33112}" destId="{8E51CB55-08D0-E544-9261-E4C02F471ED4}" srcOrd="0" destOrd="0" presId="urn:microsoft.com/office/officeart/2008/layout/LinedList"/>
    <dgm:cxn modelId="{CEBA1978-61CF-324D-8F20-C553900142F8}" type="presParOf" srcId="{304CCFDE-EFF1-654F-BDC9-50B773E33112}" destId="{D15B1013-65AB-CD45-99CF-4402853A1481}" srcOrd="1" destOrd="0" presId="urn:microsoft.com/office/officeart/2008/layout/LinedList"/>
    <dgm:cxn modelId="{DDF76437-FE05-3C49-A5B7-140028710775}" type="presParOf" srcId="{304CCFDE-EFF1-654F-BDC9-50B773E33112}" destId="{28437EF8-0B17-554E-B589-76B5AA0B00D0}" srcOrd="2" destOrd="0" presId="urn:microsoft.com/office/officeart/2008/layout/LinedList"/>
    <dgm:cxn modelId="{AC660655-2834-A44E-9C23-672E687DC93F}" type="presParOf" srcId="{1A09282D-3ED9-E842-A214-B189541603FA}" destId="{B282F22D-4E97-6A41-8183-0319AD1BBA0B}" srcOrd="2" destOrd="0" presId="urn:microsoft.com/office/officeart/2008/layout/LinedList"/>
    <dgm:cxn modelId="{3B931FE9-FEE4-D448-A73B-3CAA9E315CE5}" type="presParOf" srcId="{1A09282D-3ED9-E842-A214-B189541603FA}" destId="{B71D43BF-6701-664F-AEE4-F9AFF31C707D}" srcOrd="3" destOrd="0" presId="urn:microsoft.com/office/officeart/2008/layout/LinedList"/>
    <dgm:cxn modelId="{4D9F8B64-E4F0-1641-9601-ADAECD063B48}" type="presParOf" srcId="{1A09282D-3ED9-E842-A214-B189541603FA}" destId="{EFFDD7BA-EEA6-7F42-A225-08FABB2C283E}" srcOrd="4" destOrd="0" presId="urn:microsoft.com/office/officeart/2008/layout/LinedList"/>
    <dgm:cxn modelId="{8930DAA7-4EB8-E041-9FFE-8E06CED068B8}" type="presParOf" srcId="{EFFDD7BA-EEA6-7F42-A225-08FABB2C283E}" destId="{B11ED979-8702-484B-B303-E0DDB5A8884D}" srcOrd="0" destOrd="0" presId="urn:microsoft.com/office/officeart/2008/layout/LinedList"/>
    <dgm:cxn modelId="{4011D806-30F1-0846-9048-C8C925E9AC91}" type="presParOf" srcId="{EFFDD7BA-EEA6-7F42-A225-08FABB2C283E}" destId="{4CBF8DD6-C361-914B-BD3B-70BF33976812}" srcOrd="1" destOrd="0" presId="urn:microsoft.com/office/officeart/2008/layout/LinedList"/>
    <dgm:cxn modelId="{DE2523B0-E93D-2740-99B7-12225A7C235C}" type="presParOf" srcId="{EFFDD7BA-EEA6-7F42-A225-08FABB2C283E}" destId="{404E1FFF-D2AC-F145-88D8-4472B91827C9}" srcOrd="2" destOrd="0" presId="urn:microsoft.com/office/officeart/2008/layout/LinedList"/>
    <dgm:cxn modelId="{2362D1D4-F37B-474B-9314-97B09979F8EE}" type="presParOf" srcId="{1A09282D-3ED9-E842-A214-B189541603FA}" destId="{93B5460F-07EF-8740-B3C5-C490190A423A}" srcOrd="5" destOrd="0" presId="urn:microsoft.com/office/officeart/2008/layout/LinedList"/>
    <dgm:cxn modelId="{8DFA84BE-0A3E-954E-9669-1332CC72605A}" type="presParOf" srcId="{1A09282D-3ED9-E842-A214-B189541603FA}" destId="{CC58D7F3-9375-5D42-9F65-3ED8BC1FC4D2}" srcOrd="6" destOrd="0" presId="urn:microsoft.com/office/officeart/2008/layout/LinedList"/>
    <dgm:cxn modelId="{F12636D9-66FC-FE42-89DA-759A3A506DAA}" type="presParOf" srcId="{1A09282D-3ED9-E842-A214-B189541603FA}" destId="{526DD056-313A-F647-8FAA-B81AF87E906A}" srcOrd="7" destOrd="0" presId="urn:microsoft.com/office/officeart/2008/layout/LinedList"/>
    <dgm:cxn modelId="{CE8BDA3D-B7B9-364E-9428-F76E8F98DB67}" type="presParOf" srcId="{526DD056-313A-F647-8FAA-B81AF87E906A}" destId="{F0BB610E-A43C-0140-8B61-BFBBB9C5B21B}" srcOrd="0" destOrd="0" presId="urn:microsoft.com/office/officeart/2008/layout/LinedList"/>
    <dgm:cxn modelId="{5912A170-52E3-DA47-A070-8582BB267A7C}" type="presParOf" srcId="{526DD056-313A-F647-8FAA-B81AF87E906A}" destId="{CF6BD5B1-BE8F-A045-897A-F72B5E3CAD43}" srcOrd="1" destOrd="0" presId="urn:microsoft.com/office/officeart/2008/layout/LinedList"/>
    <dgm:cxn modelId="{6A7BEAFC-1379-0940-8758-AB51461D8011}" type="presParOf" srcId="{526DD056-313A-F647-8FAA-B81AF87E906A}" destId="{8F18C9F9-DAE6-4748-9AE7-A114CAAF1A3B}" srcOrd="2" destOrd="0" presId="urn:microsoft.com/office/officeart/2008/layout/LinedList"/>
    <dgm:cxn modelId="{8873A270-BC1B-164F-82C7-B7AC3DC4679A}" type="presParOf" srcId="{1A09282D-3ED9-E842-A214-B189541603FA}" destId="{AB7F71FE-D0D8-DB4E-9183-A453CD24181D}" srcOrd="8" destOrd="0" presId="urn:microsoft.com/office/officeart/2008/layout/LinedList"/>
    <dgm:cxn modelId="{E791C4E3-3AC4-A04B-B385-BEB2C581CDA8}" type="presParOf" srcId="{1A09282D-3ED9-E842-A214-B189541603FA}" destId="{97134469-EF7F-6544-8ADF-B680044BCF19}" srcOrd="9" destOrd="0" presId="urn:microsoft.com/office/officeart/2008/layout/LinedList"/>
    <dgm:cxn modelId="{13321461-F2AE-BA40-A6B8-C30BF57EF4E7}" type="presParOf" srcId="{1A09282D-3ED9-E842-A214-B189541603FA}" destId="{30503AA4-C623-5A46-B940-A80E1034AE86}" srcOrd="10" destOrd="0" presId="urn:microsoft.com/office/officeart/2008/layout/LinedList"/>
    <dgm:cxn modelId="{641F9CCD-7325-D645-9404-3721CC943A4F}" type="presParOf" srcId="{30503AA4-C623-5A46-B940-A80E1034AE86}" destId="{EC4F2F74-FCB3-8B4F-9C0B-DD4518877A74}" srcOrd="0" destOrd="0" presId="urn:microsoft.com/office/officeart/2008/layout/LinedList"/>
    <dgm:cxn modelId="{7E037DC8-3C1C-F043-860E-C5A09FC54848}" type="presParOf" srcId="{30503AA4-C623-5A46-B940-A80E1034AE86}" destId="{7F586AF6-99ED-7F4F-9F54-0AA5D025C819}" srcOrd="1" destOrd="0" presId="urn:microsoft.com/office/officeart/2008/layout/LinedList"/>
    <dgm:cxn modelId="{141EA246-358E-5346-94EB-C707F36D1471}" type="presParOf" srcId="{30503AA4-C623-5A46-B940-A80E1034AE86}" destId="{5028812F-FF96-4843-AE1D-EDD8C7BA3941}" srcOrd="2" destOrd="0" presId="urn:microsoft.com/office/officeart/2008/layout/LinedList"/>
    <dgm:cxn modelId="{B39FAD04-8E47-B946-8AD3-0F2D242A1924}" type="presParOf" srcId="{1A09282D-3ED9-E842-A214-B189541603FA}" destId="{0D05E7CA-4690-3746-80EC-339E36AA23C6}" srcOrd="11" destOrd="0" presId="urn:microsoft.com/office/officeart/2008/layout/LinedList"/>
    <dgm:cxn modelId="{5917FB3B-98CD-B94C-9662-4FB8BDEA4D5E}" type="presParOf" srcId="{1A09282D-3ED9-E842-A214-B189541603FA}" destId="{94AD4715-10E3-E04E-80FC-936AB44F8AFC}" srcOrd="12" destOrd="0" presId="urn:microsoft.com/office/officeart/2008/layout/LinedList"/>
    <dgm:cxn modelId="{CB1FEDBA-DD28-7042-948D-A6E79D8D8385}" type="presParOf" srcId="{1A09282D-3ED9-E842-A214-B189541603FA}" destId="{2D23E20E-3175-D848-BA71-8A8A17104E5C}" srcOrd="13" destOrd="0" presId="urn:microsoft.com/office/officeart/2008/layout/LinedList"/>
    <dgm:cxn modelId="{03C67EEB-DFBD-1549-8095-DE943D075404}" type="presParOf" srcId="{2D23E20E-3175-D848-BA71-8A8A17104E5C}" destId="{30700DBC-4A68-9B43-B8AD-8649D6392A73}" srcOrd="0" destOrd="0" presId="urn:microsoft.com/office/officeart/2008/layout/LinedList"/>
    <dgm:cxn modelId="{1F16B769-9822-314A-BB3E-5DE5D1BF6376}" type="presParOf" srcId="{2D23E20E-3175-D848-BA71-8A8A17104E5C}" destId="{8E841FFD-4AB9-5845-8845-2EE321CDF61F}" srcOrd="1" destOrd="0" presId="urn:microsoft.com/office/officeart/2008/layout/LinedList"/>
    <dgm:cxn modelId="{348D4DD7-DA37-634F-BEC4-EB91C7755A34}" type="presParOf" srcId="{2D23E20E-3175-D848-BA71-8A8A17104E5C}" destId="{6DFF2415-7500-DB4D-B62F-7A745403BF01}" srcOrd="2" destOrd="0" presId="urn:microsoft.com/office/officeart/2008/layout/LinedList"/>
    <dgm:cxn modelId="{8CDBA4B6-0BF4-2E44-940D-4828D4BA06E1}" type="presParOf" srcId="{1A09282D-3ED9-E842-A214-B189541603FA}" destId="{4DC9BEA0-D9C0-C243-97A0-EB78FCCDBA87}" srcOrd="14" destOrd="0" presId="urn:microsoft.com/office/officeart/2008/layout/LinedList"/>
    <dgm:cxn modelId="{85222D7C-D329-AF47-B666-DF57D4D2E1E7}" type="presParOf" srcId="{1A09282D-3ED9-E842-A214-B189541603FA}" destId="{ABE89D53-5474-1D41-9C51-1BF78E08DAF7}" srcOrd="15"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63338DFF-D947-4C0D-B7F0-48B3741DF7DA}">
      <dgm:prSet custT="1"/>
      <dgm:spPr/>
      <dgm:t>
        <a:bodyPr/>
        <a:lstStyle/>
        <a:p>
          <a:pPr rtl="0"/>
          <a:endParaRPr lang="en-CA" sz="2800" dirty="0"/>
        </a:p>
      </dgm:t>
    </dgm:pt>
    <dgm:pt modelId="{B899D5EC-4567-43FE-AC78-6EC2FD57D4F9}" type="parTrans" cxnId="{C56BCB63-1092-4E46-9777-495C99942457}">
      <dgm:prSet/>
      <dgm:spPr/>
      <dgm:t>
        <a:bodyPr/>
        <a:lstStyle/>
        <a:p>
          <a:endParaRPr lang="en-US"/>
        </a:p>
      </dgm:t>
    </dgm:pt>
    <dgm:pt modelId="{3B31AD9D-07A6-4045-AF5D-3CAA23001A20}" type="sibTrans" cxnId="{C56BCB63-1092-4E46-9777-495C99942457}">
      <dgm:prSet/>
      <dgm:spPr/>
      <dgm:t>
        <a:bodyPr/>
        <a:lstStyle/>
        <a:p>
          <a:endParaRPr lang="en-US"/>
        </a:p>
      </dgm:t>
    </dgm:pt>
    <dgm:pt modelId="{3515B54C-5B4F-4429-824B-F9A1C6348958}">
      <dgm:prSet/>
      <dgm:spPr/>
      <dgm:t>
        <a:bodyPr/>
        <a:lstStyle/>
        <a:p>
          <a:pPr rtl="0"/>
          <a:r>
            <a:rPr lang="en-CA" dirty="0"/>
            <a:t>F4 &gt; T1Pad</a:t>
          </a:r>
        </a:p>
      </dgm:t>
    </dgm:pt>
    <dgm:pt modelId="{FEE5F204-A458-4270-A606-39F20D12AB08}" type="parTrans" cxnId="{48C2CE02-B014-4605-94E2-16E47D939C57}">
      <dgm:prSet/>
      <dgm:spPr/>
      <dgm:t>
        <a:bodyPr/>
        <a:lstStyle/>
        <a:p>
          <a:endParaRPr lang="en-US"/>
        </a:p>
      </dgm:t>
    </dgm:pt>
    <dgm:pt modelId="{E9ABEA3D-FD6A-479D-A95E-9E0D0C09734D}" type="sibTrans" cxnId="{48C2CE02-B014-4605-94E2-16E47D939C57}">
      <dgm:prSet/>
      <dgm:spPr/>
      <dgm:t>
        <a:bodyPr/>
        <a:lstStyle/>
        <a:p>
          <a:endParaRPr lang="en-US"/>
        </a:p>
      </dgm:t>
    </dgm:pt>
    <dgm:pt modelId="{B348313D-51E6-46C8-AF21-A700BF2859EC}">
      <dgm:prSet/>
      <dgm:spPr/>
      <dgm:t>
        <a:bodyPr/>
        <a:lstStyle/>
        <a:p>
          <a:pPr rtl="0"/>
          <a:r>
            <a:rPr lang="en-CA" dirty="0"/>
            <a:t>Select &gt; Yes</a:t>
          </a:r>
        </a:p>
      </dgm:t>
    </dgm:pt>
    <dgm:pt modelId="{37D516C8-96E6-4CF7-B955-69240D96E189}" type="parTrans" cxnId="{A1B1B0E2-B0A7-42E0-8CCF-923DB4231AAF}">
      <dgm:prSet/>
      <dgm:spPr/>
      <dgm:t>
        <a:bodyPr/>
        <a:lstStyle/>
        <a:p>
          <a:endParaRPr lang="en-US"/>
        </a:p>
      </dgm:t>
    </dgm:pt>
    <dgm:pt modelId="{D4D20964-DA1A-4B06-91DD-DC4017567AF0}" type="sibTrans" cxnId="{A1B1B0E2-B0A7-42E0-8CCF-923DB4231AAF}">
      <dgm:prSet/>
      <dgm:spPr/>
      <dgm:t>
        <a:bodyPr/>
        <a:lstStyle/>
        <a:p>
          <a:endParaRPr lang="en-US"/>
        </a:p>
      </dgm:t>
    </dgm:pt>
    <dgm:pt modelId="{2C9797C5-B00B-4F90-8BD5-4128C3CA6C48}">
      <dgm:prSet/>
      <dgm:spPr/>
      <dgm:t>
        <a:bodyPr/>
        <a:lstStyle/>
        <a:p>
          <a:pPr rtl="0"/>
          <a:r>
            <a:rPr lang="en-CA" dirty="0"/>
            <a:t>Click </a:t>
          </a:r>
          <a:r>
            <a:rPr lang="en-CA" i="1" dirty="0"/>
            <a:t>Pay in Full</a:t>
          </a:r>
        </a:p>
      </dgm:t>
    </dgm:pt>
    <dgm:pt modelId="{A5CD0D60-C054-4BB0-9002-6A8EE49A19F5}" type="parTrans" cxnId="{BE21CB35-4283-463F-B56F-ED6F8C504AF1}">
      <dgm:prSet/>
      <dgm:spPr/>
      <dgm:t>
        <a:bodyPr/>
        <a:lstStyle/>
        <a:p>
          <a:endParaRPr lang="en-US"/>
        </a:p>
      </dgm:t>
    </dgm:pt>
    <dgm:pt modelId="{204C1459-53D4-496C-A373-AC06F1E8878D}" type="sibTrans" cxnId="{BE21CB35-4283-463F-B56F-ED6F8C504AF1}">
      <dgm:prSet/>
      <dgm:spPr/>
      <dgm:t>
        <a:bodyPr/>
        <a:lstStyle/>
        <a:p>
          <a:endParaRPr lang="en-US"/>
        </a:p>
      </dgm:t>
    </dgm:pt>
    <dgm:pt modelId="{B837DF6C-8F87-47AC-8ABF-4246E6A6F9D8}">
      <dgm:prSet/>
      <dgm:spPr/>
      <dgm:t>
        <a:bodyPr/>
        <a:lstStyle/>
        <a:p>
          <a:pPr rtl="0"/>
          <a:r>
            <a:rPr lang="en-CA" i="0" dirty="0"/>
            <a:t>Go to </a:t>
          </a:r>
          <a:r>
            <a:rPr lang="en-CA" i="1" dirty="0"/>
            <a:t>EFILE &gt; EFILE PreAuthorized Debit</a:t>
          </a:r>
          <a:endParaRPr lang="en-CA" i="0" dirty="0"/>
        </a:p>
      </dgm:t>
    </dgm:pt>
    <dgm:pt modelId="{EE1A73A8-1E4F-426C-BBFB-7B11392B1B4C}" type="parTrans" cxnId="{B098E3DF-FD01-4A59-B55C-38052E826E88}">
      <dgm:prSet/>
      <dgm:spPr/>
      <dgm:t>
        <a:bodyPr/>
        <a:lstStyle/>
        <a:p>
          <a:endParaRPr lang="en-US"/>
        </a:p>
      </dgm:t>
    </dgm:pt>
    <dgm:pt modelId="{1FB965CF-9ABE-4FFA-8B3A-BCC0A4F7AF8F}" type="sibTrans" cxnId="{B098E3DF-FD01-4A59-B55C-38052E826E88}">
      <dgm:prSet/>
      <dgm:spPr/>
      <dgm:t>
        <a:bodyPr/>
        <a:lstStyle/>
        <a:p>
          <a:endParaRPr lang="en-US"/>
        </a:p>
      </dgm:t>
    </dgm:pt>
    <dgm:pt modelId="{BB92C149-C8F8-DA4F-905A-AA7CEEADFF27}" type="pres">
      <dgm:prSet presAssocID="{02BA0D8E-884F-D545-BFF7-95207C181DAB}" presName="vert0" presStyleCnt="0">
        <dgm:presLayoutVars>
          <dgm:dir/>
          <dgm:animOne val="branch"/>
          <dgm:animLvl val="lvl"/>
        </dgm:presLayoutVars>
      </dgm:prSet>
      <dgm:spPr/>
    </dgm:pt>
    <dgm:pt modelId="{6E4ECE7A-09FA-3543-A84D-24E154AE6DEC}" type="pres">
      <dgm:prSet presAssocID="{63338DFF-D947-4C0D-B7F0-48B3741DF7DA}" presName="thickLine" presStyleLbl="alignNode1" presStyleIdx="0" presStyleCnt="1"/>
      <dgm:spPr/>
    </dgm:pt>
    <dgm:pt modelId="{811A70A2-ABD3-CA45-A855-91B7430D3F5F}" type="pres">
      <dgm:prSet presAssocID="{63338DFF-D947-4C0D-B7F0-48B3741DF7DA}" presName="horz1" presStyleCnt="0"/>
      <dgm:spPr/>
    </dgm:pt>
    <dgm:pt modelId="{D2AD1FD5-06B2-504A-888C-E3815F1F81F2}" type="pres">
      <dgm:prSet presAssocID="{63338DFF-D947-4C0D-B7F0-48B3741DF7DA}" presName="tx1" presStyleLbl="revTx" presStyleIdx="0" presStyleCnt="5"/>
      <dgm:spPr/>
    </dgm:pt>
    <dgm:pt modelId="{D92E1CA0-BA06-0444-8D30-BA3E083F7A91}" type="pres">
      <dgm:prSet presAssocID="{63338DFF-D947-4C0D-B7F0-48B3741DF7DA}" presName="vert1" presStyleCnt="0"/>
      <dgm:spPr/>
    </dgm:pt>
    <dgm:pt modelId="{53D64085-7E0B-2A4A-BF94-E985F73ABC3E}" type="pres">
      <dgm:prSet presAssocID="{3515B54C-5B4F-4429-824B-F9A1C6348958}" presName="vertSpace2a" presStyleCnt="0"/>
      <dgm:spPr/>
    </dgm:pt>
    <dgm:pt modelId="{C8D73A81-89EE-FF41-9350-0975A9839A58}" type="pres">
      <dgm:prSet presAssocID="{3515B54C-5B4F-4429-824B-F9A1C6348958}" presName="horz2" presStyleCnt="0"/>
      <dgm:spPr/>
    </dgm:pt>
    <dgm:pt modelId="{6808DD94-084E-6542-B373-2538369EA08D}" type="pres">
      <dgm:prSet presAssocID="{3515B54C-5B4F-4429-824B-F9A1C6348958}" presName="horzSpace2" presStyleCnt="0"/>
      <dgm:spPr/>
    </dgm:pt>
    <dgm:pt modelId="{BD462816-AAA9-8246-8FC5-9361542DE211}" type="pres">
      <dgm:prSet presAssocID="{3515B54C-5B4F-4429-824B-F9A1C6348958}" presName="tx2" presStyleLbl="revTx" presStyleIdx="1" presStyleCnt="5"/>
      <dgm:spPr/>
    </dgm:pt>
    <dgm:pt modelId="{24E1AC25-0AEF-5946-A351-B07D13AE7E14}" type="pres">
      <dgm:prSet presAssocID="{3515B54C-5B4F-4429-824B-F9A1C6348958}" presName="vert2" presStyleCnt="0"/>
      <dgm:spPr/>
    </dgm:pt>
    <dgm:pt modelId="{4CF3B448-73CA-9B46-89DA-B6C216119C01}" type="pres">
      <dgm:prSet presAssocID="{3515B54C-5B4F-4429-824B-F9A1C6348958}" presName="thinLine2b" presStyleLbl="callout" presStyleIdx="0" presStyleCnt="4"/>
      <dgm:spPr/>
    </dgm:pt>
    <dgm:pt modelId="{3FDA45D2-36DB-B148-804B-1812D9DEAE13}" type="pres">
      <dgm:prSet presAssocID="{3515B54C-5B4F-4429-824B-F9A1C6348958}" presName="vertSpace2b" presStyleCnt="0"/>
      <dgm:spPr/>
    </dgm:pt>
    <dgm:pt modelId="{EACB4FD0-E366-9042-BD40-D24651FB66CD}" type="pres">
      <dgm:prSet presAssocID="{B348313D-51E6-46C8-AF21-A700BF2859EC}" presName="horz2" presStyleCnt="0"/>
      <dgm:spPr/>
    </dgm:pt>
    <dgm:pt modelId="{1B3104B8-F86B-3B46-93FB-156E919E9A47}" type="pres">
      <dgm:prSet presAssocID="{B348313D-51E6-46C8-AF21-A700BF2859EC}" presName="horzSpace2" presStyleCnt="0"/>
      <dgm:spPr/>
    </dgm:pt>
    <dgm:pt modelId="{01115E9C-E0FD-DC47-A84D-3220A94AB4C3}" type="pres">
      <dgm:prSet presAssocID="{B348313D-51E6-46C8-AF21-A700BF2859EC}" presName="tx2" presStyleLbl="revTx" presStyleIdx="2" presStyleCnt="5"/>
      <dgm:spPr/>
    </dgm:pt>
    <dgm:pt modelId="{B1157EC5-D4F3-7E4E-8110-CFF53C1FCA18}" type="pres">
      <dgm:prSet presAssocID="{B348313D-51E6-46C8-AF21-A700BF2859EC}" presName="vert2" presStyleCnt="0"/>
      <dgm:spPr/>
    </dgm:pt>
    <dgm:pt modelId="{952ED1D9-F156-A345-968E-D74CE5FFAA35}" type="pres">
      <dgm:prSet presAssocID="{B348313D-51E6-46C8-AF21-A700BF2859EC}" presName="thinLine2b" presStyleLbl="callout" presStyleIdx="1" presStyleCnt="4"/>
      <dgm:spPr/>
    </dgm:pt>
    <dgm:pt modelId="{67D2031D-B0A0-1F4E-B3B2-2EF21E9EAA26}" type="pres">
      <dgm:prSet presAssocID="{B348313D-51E6-46C8-AF21-A700BF2859EC}" presName="vertSpace2b" presStyleCnt="0"/>
      <dgm:spPr/>
    </dgm:pt>
    <dgm:pt modelId="{C2B55E0D-6B26-434B-B579-7BDE7A63A149}" type="pres">
      <dgm:prSet presAssocID="{2C9797C5-B00B-4F90-8BD5-4128C3CA6C48}" presName="horz2" presStyleCnt="0"/>
      <dgm:spPr/>
    </dgm:pt>
    <dgm:pt modelId="{5E53A80F-43F6-F641-B838-781C0CAD7D19}" type="pres">
      <dgm:prSet presAssocID="{2C9797C5-B00B-4F90-8BD5-4128C3CA6C48}" presName="horzSpace2" presStyleCnt="0"/>
      <dgm:spPr/>
    </dgm:pt>
    <dgm:pt modelId="{E183A497-6093-5D41-A966-E92BD9E0C6C5}" type="pres">
      <dgm:prSet presAssocID="{2C9797C5-B00B-4F90-8BD5-4128C3CA6C48}" presName="tx2" presStyleLbl="revTx" presStyleIdx="3" presStyleCnt="5"/>
      <dgm:spPr/>
    </dgm:pt>
    <dgm:pt modelId="{82F38731-D0C7-5540-B3E8-60F716E1E5BD}" type="pres">
      <dgm:prSet presAssocID="{2C9797C5-B00B-4F90-8BD5-4128C3CA6C48}" presName="vert2" presStyleCnt="0"/>
      <dgm:spPr/>
    </dgm:pt>
    <dgm:pt modelId="{2D65A4A8-87F2-B94A-A7CE-D2D0D4D185CF}" type="pres">
      <dgm:prSet presAssocID="{2C9797C5-B00B-4F90-8BD5-4128C3CA6C48}" presName="thinLine2b" presStyleLbl="callout" presStyleIdx="2" presStyleCnt="4"/>
      <dgm:spPr/>
    </dgm:pt>
    <dgm:pt modelId="{62FC01D9-86E1-684C-A4D4-8E492674260F}" type="pres">
      <dgm:prSet presAssocID="{2C9797C5-B00B-4F90-8BD5-4128C3CA6C48}" presName="vertSpace2b" presStyleCnt="0"/>
      <dgm:spPr/>
    </dgm:pt>
    <dgm:pt modelId="{C25740DE-E1A3-7044-9552-5ECC4D8CA921}" type="pres">
      <dgm:prSet presAssocID="{B837DF6C-8F87-47AC-8ABF-4246E6A6F9D8}" presName="horz2" presStyleCnt="0"/>
      <dgm:spPr/>
    </dgm:pt>
    <dgm:pt modelId="{D1E3892F-FF87-4845-9E86-44A97F389A74}" type="pres">
      <dgm:prSet presAssocID="{B837DF6C-8F87-47AC-8ABF-4246E6A6F9D8}" presName="horzSpace2" presStyleCnt="0"/>
      <dgm:spPr/>
    </dgm:pt>
    <dgm:pt modelId="{43E3B672-7717-BF4F-AECB-A227D4B335C6}" type="pres">
      <dgm:prSet presAssocID="{B837DF6C-8F87-47AC-8ABF-4246E6A6F9D8}" presName="tx2" presStyleLbl="revTx" presStyleIdx="4" presStyleCnt="5"/>
      <dgm:spPr/>
    </dgm:pt>
    <dgm:pt modelId="{B8FB89D7-A42A-384F-8C4D-1A53BF24D99F}" type="pres">
      <dgm:prSet presAssocID="{B837DF6C-8F87-47AC-8ABF-4246E6A6F9D8}" presName="vert2" presStyleCnt="0"/>
      <dgm:spPr/>
    </dgm:pt>
    <dgm:pt modelId="{CDAFD84B-0CF5-4148-8BA0-86FBC2D58782}" type="pres">
      <dgm:prSet presAssocID="{B837DF6C-8F87-47AC-8ABF-4246E6A6F9D8}" presName="thinLine2b" presStyleLbl="callout" presStyleIdx="3" presStyleCnt="4"/>
      <dgm:spPr/>
    </dgm:pt>
    <dgm:pt modelId="{CB847A0E-7681-CB46-AD9F-D03F2815CC43}" type="pres">
      <dgm:prSet presAssocID="{B837DF6C-8F87-47AC-8ABF-4246E6A6F9D8}" presName="vertSpace2b" presStyleCnt="0"/>
      <dgm:spPr/>
    </dgm:pt>
  </dgm:ptLst>
  <dgm:cxnLst>
    <dgm:cxn modelId="{48C2CE02-B014-4605-94E2-16E47D939C57}" srcId="{63338DFF-D947-4C0D-B7F0-48B3741DF7DA}" destId="{3515B54C-5B4F-4429-824B-F9A1C6348958}" srcOrd="0" destOrd="0" parTransId="{FEE5F204-A458-4270-A606-39F20D12AB08}" sibTransId="{E9ABEA3D-FD6A-479D-A95E-9E0D0C09734D}"/>
    <dgm:cxn modelId="{6138F606-B06E-9940-B0FE-92D42EECE2B8}" type="presOf" srcId="{02BA0D8E-884F-D545-BFF7-95207C181DAB}" destId="{BB92C149-C8F8-DA4F-905A-AA7CEEADFF27}" srcOrd="0" destOrd="0" presId="urn:microsoft.com/office/officeart/2008/layout/LinedList"/>
    <dgm:cxn modelId="{FC3FEA32-1AFB-9243-B6DB-4D751ADB386F}" type="presOf" srcId="{2C9797C5-B00B-4F90-8BD5-4128C3CA6C48}" destId="{E183A497-6093-5D41-A966-E92BD9E0C6C5}" srcOrd="0" destOrd="0" presId="urn:microsoft.com/office/officeart/2008/layout/LinedList"/>
    <dgm:cxn modelId="{BE21CB35-4283-463F-B56F-ED6F8C504AF1}" srcId="{63338DFF-D947-4C0D-B7F0-48B3741DF7DA}" destId="{2C9797C5-B00B-4F90-8BD5-4128C3CA6C48}" srcOrd="2" destOrd="0" parTransId="{A5CD0D60-C054-4BB0-9002-6A8EE49A19F5}" sibTransId="{204C1459-53D4-496C-A373-AC06F1E8878D}"/>
    <dgm:cxn modelId="{10AFCE59-E486-5446-B6CF-861BF8BB3501}" type="presOf" srcId="{B837DF6C-8F87-47AC-8ABF-4246E6A6F9D8}" destId="{43E3B672-7717-BF4F-AECB-A227D4B335C6}" srcOrd="0" destOrd="0" presId="urn:microsoft.com/office/officeart/2008/layout/LinedList"/>
    <dgm:cxn modelId="{C56BCB63-1092-4E46-9777-495C99942457}" srcId="{02BA0D8E-884F-D545-BFF7-95207C181DAB}" destId="{63338DFF-D947-4C0D-B7F0-48B3741DF7DA}" srcOrd="0" destOrd="0" parTransId="{B899D5EC-4567-43FE-AC78-6EC2FD57D4F9}" sibTransId="{3B31AD9D-07A6-4045-AF5D-3CAA23001A20}"/>
    <dgm:cxn modelId="{34F07E80-9AC4-4048-A16A-BD455131D605}" type="presOf" srcId="{63338DFF-D947-4C0D-B7F0-48B3741DF7DA}" destId="{D2AD1FD5-06B2-504A-888C-E3815F1F81F2}" srcOrd="0" destOrd="0" presId="urn:microsoft.com/office/officeart/2008/layout/LinedList"/>
    <dgm:cxn modelId="{FBFB67C4-A265-0A43-8A1E-AC3546EFFD9A}" type="presOf" srcId="{B348313D-51E6-46C8-AF21-A700BF2859EC}" destId="{01115E9C-E0FD-DC47-A84D-3220A94AB4C3}" srcOrd="0" destOrd="0" presId="urn:microsoft.com/office/officeart/2008/layout/LinedList"/>
    <dgm:cxn modelId="{B098E3DF-FD01-4A59-B55C-38052E826E88}" srcId="{63338DFF-D947-4C0D-B7F0-48B3741DF7DA}" destId="{B837DF6C-8F87-47AC-8ABF-4246E6A6F9D8}" srcOrd="3" destOrd="0" parTransId="{EE1A73A8-1E4F-426C-BBFB-7B11392B1B4C}" sibTransId="{1FB965CF-9ABE-4FFA-8B3A-BCC0A4F7AF8F}"/>
    <dgm:cxn modelId="{6B0A88E0-4590-AE4D-A53A-E7C136466656}" type="presOf" srcId="{3515B54C-5B4F-4429-824B-F9A1C6348958}" destId="{BD462816-AAA9-8246-8FC5-9361542DE211}" srcOrd="0" destOrd="0" presId="urn:microsoft.com/office/officeart/2008/layout/LinedList"/>
    <dgm:cxn modelId="{A1B1B0E2-B0A7-42E0-8CCF-923DB4231AAF}" srcId="{63338DFF-D947-4C0D-B7F0-48B3741DF7DA}" destId="{B348313D-51E6-46C8-AF21-A700BF2859EC}" srcOrd="1" destOrd="0" parTransId="{37D516C8-96E6-4CF7-B955-69240D96E189}" sibTransId="{D4D20964-DA1A-4B06-91DD-DC4017567AF0}"/>
    <dgm:cxn modelId="{94C1F4DE-F694-3446-9275-197EC8EE80F0}" type="presParOf" srcId="{BB92C149-C8F8-DA4F-905A-AA7CEEADFF27}" destId="{6E4ECE7A-09FA-3543-A84D-24E154AE6DEC}" srcOrd="0" destOrd="0" presId="urn:microsoft.com/office/officeart/2008/layout/LinedList"/>
    <dgm:cxn modelId="{AFBBDA48-31CE-5147-81F8-16CE5FCA698C}" type="presParOf" srcId="{BB92C149-C8F8-DA4F-905A-AA7CEEADFF27}" destId="{811A70A2-ABD3-CA45-A855-91B7430D3F5F}" srcOrd="1" destOrd="0" presId="urn:microsoft.com/office/officeart/2008/layout/LinedList"/>
    <dgm:cxn modelId="{214E0214-54AB-D04D-9242-2005DFB43988}" type="presParOf" srcId="{811A70A2-ABD3-CA45-A855-91B7430D3F5F}" destId="{D2AD1FD5-06B2-504A-888C-E3815F1F81F2}" srcOrd="0" destOrd="0" presId="urn:microsoft.com/office/officeart/2008/layout/LinedList"/>
    <dgm:cxn modelId="{C4B13853-CA0D-E64D-B11F-371A8CE681CA}" type="presParOf" srcId="{811A70A2-ABD3-CA45-A855-91B7430D3F5F}" destId="{D92E1CA0-BA06-0444-8D30-BA3E083F7A91}" srcOrd="1" destOrd="0" presId="urn:microsoft.com/office/officeart/2008/layout/LinedList"/>
    <dgm:cxn modelId="{95B19516-7DF1-8543-9164-48907C7ED30C}" type="presParOf" srcId="{D92E1CA0-BA06-0444-8D30-BA3E083F7A91}" destId="{53D64085-7E0B-2A4A-BF94-E985F73ABC3E}" srcOrd="0" destOrd="0" presId="urn:microsoft.com/office/officeart/2008/layout/LinedList"/>
    <dgm:cxn modelId="{1868D565-08A2-B643-A18B-05E3C9838D45}" type="presParOf" srcId="{D92E1CA0-BA06-0444-8D30-BA3E083F7A91}" destId="{C8D73A81-89EE-FF41-9350-0975A9839A58}" srcOrd="1" destOrd="0" presId="urn:microsoft.com/office/officeart/2008/layout/LinedList"/>
    <dgm:cxn modelId="{01A2C249-9461-934C-A363-B2D186433F14}" type="presParOf" srcId="{C8D73A81-89EE-FF41-9350-0975A9839A58}" destId="{6808DD94-084E-6542-B373-2538369EA08D}" srcOrd="0" destOrd="0" presId="urn:microsoft.com/office/officeart/2008/layout/LinedList"/>
    <dgm:cxn modelId="{A1AA90AE-B3A0-064B-A885-C1B87687EBC6}" type="presParOf" srcId="{C8D73A81-89EE-FF41-9350-0975A9839A58}" destId="{BD462816-AAA9-8246-8FC5-9361542DE211}" srcOrd="1" destOrd="0" presId="urn:microsoft.com/office/officeart/2008/layout/LinedList"/>
    <dgm:cxn modelId="{1FE8651D-AF74-B742-847A-40D1E35BEFAE}" type="presParOf" srcId="{C8D73A81-89EE-FF41-9350-0975A9839A58}" destId="{24E1AC25-0AEF-5946-A351-B07D13AE7E14}" srcOrd="2" destOrd="0" presId="urn:microsoft.com/office/officeart/2008/layout/LinedList"/>
    <dgm:cxn modelId="{45FAD62A-64FF-514E-9479-1D167C4249F3}" type="presParOf" srcId="{D92E1CA0-BA06-0444-8D30-BA3E083F7A91}" destId="{4CF3B448-73CA-9B46-89DA-B6C216119C01}" srcOrd="2" destOrd="0" presId="urn:microsoft.com/office/officeart/2008/layout/LinedList"/>
    <dgm:cxn modelId="{D798F9A7-0FF2-6A42-AEE2-2356C02A8F60}" type="presParOf" srcId="{D92E1CA0-BA06-0444-8D30-BA3E083F7A91}" destId="{3FDA45D2-36DB-B148-804B-1812D9DEAE13}" srcOrd="3" destOrd="0" presId="urn:microsoft.com/office/officeart/2008/layout/LinedList"/>
    <dgm:cxn modelId="{25518713-0747-604E-8A45-A07A96F78886}" type="presParOf" srcId="{D92E1CA0-BA06-0444-8D30-BA3E083F7A91}" destId="{EACB4FD0-E366-9042-BD40-D24651FB66CD}" srcOrd="4" destOrd="0" presId="urn:microsoft.com/office/officeart/2008/layout/LinedList"/>
    <dgm:cxn modelId="{03930475-DF53-E844-9CBA-C3D788ADD66A}" type="presParOf" srcId="{EACB4FD0-E366-9042-BD40-D24651FB66CD}" destId="{1B3104B8-F86B-3B46-93FB-156E919E9A47}" srcOrd="0" destOrd="0" presId="urn:microsoft.com/office/officeart/2008/layout/LinedList"/>
    <dgm:cxn modelId="{9BE32E22-24C3-2B4F-BC8C-C68ECBA9BE51}" type="presParOf" srcId="{EACB4FD0-E366-9042-BD40-D24651FB66CD}" destId="{01115E9C-E0FD-DC47-A84D-3220A94AB4C3}" srcOrd="1" destOrd="0" presId="urn:microsoft.com/office/officeart/2008/layout/LinedList"/>
    <dgm:cxn modelId="{CB0CC54C-2282-D642-99B3-FE4030E09D0A}" type="presParOf" srcId="{EACB4FD0-E366-9042-BD40-D24651FB66CD}" destId="{B1157EC5-D4F3-7E4E-8110-CFF53C1FCA18}" srcOrd="2" destOrd="0" presId="urn:microsoft.com/office/officeart/2008/layout/LinedList"/>
    <dgm:cxn modelId="{DB7F0F18-C42A-6042-AEED-0E8CE75B26F9}" type="presParOf" srcId="{D92E1CA0-BA06-0444-8D30-BA3E083F7A91}" destId="{952ED1D9-F156-A345-968E-D74CE5FFAA35}" srcOrd="5" destOrd="0" presId="urn:microsoft.com/office/officeart/2008/layout/LinedList"/>
    <dgm:cxn modelId="{7A21EBA3-FBC8-0844-8893-ECA69D792BBB}" type="presParOf" srcId="{D92E1CA0-BA06-0444-8D30-BA3E083F7A91}" destId="{67D2031D-B0A0-1F4E-B3B2-2EF21E9EAA26}" srcOrd="6" destOrd="0" presId="urn:microsoft.com/office/officeart/2008/layout/LinedList"/>
    <dgm:cxn modelId="{397F8387-A182-5846-90BD-53C3587431E4}" type="presParOf" srcId="{D92E1CA0-BA06-0444-8D30-BA3E083F7A91}" destId="{C2B55E0D-6B26-434B-B579-7BDE7A63A149}" srcOrd="7" destOrd="0" presId="urn:microsoft.com/office/officeart/2008/layout/LinedList"/>
    <dgm:cxn modelId="{A2B32F32-8992-404C-AB82-9806DABB4BD9}" type="presParOf" srcId="{C2B55E0D-6B26-434B-B579-7BDE7A63A149}" destId="{5E53A80F-43F6-F641-B838-781C0CAD7D19}" srcOrd="0" destOrd="0" presId="urn:microsoft.com/office/officeart/2008/layout/LinedList"/>
    <dgm:cxn modelId="{DC6C3B7C-8CAD-C542-B312-9701D425A881}" type="presParOf" srcId="{C2B55E0D-6B26-434B-B579-7BDE7A63A149}" destId="{E183A497-6093-5D41-A966-E92BD9E0C6C5}" srcOrd="1" destOrd="0" presId="urn:microsoft.com/office/officeart/2008/layout/LinedList"/>
    <dgm:cxn modelId="{9C3C83DA-1D87-0B48-B092-F52C3A4DDAB3}" type="presParOf" srcId="{C2B55E0D-6B26-434B-B579-7BDE7A63A149}" destId="{82F38731-D0C7-5540-B3E8-60F716E1E5BD}" srcOrd="2" destOrd="0" presId="urn:microsoft.com/office/officeart/2008/layout/LinedList"/>
    <dgm:cxn modelId="{55D40410-966A-274F-B87A-73333F9BA331}" type="presParOf" srcId="{D92E1CA0-BA06-0444-8D30-BA3E083F7A91}" destId="{2D65A4A8-87F2-B94A-A7CE-D2D0D4D185CF}" srcOrd="8" destOrd="0" presId="urn:microsoft.com/office/officeart/2008/layout/LinedList"/>
    <dgm:cxn modelId="{529E34EB-863E-3B43-B7C5-631E93B9E07C}" type="presParOf" srcId="{D92E1CA0-BA06-0444-8D30-BA3E083F7A91}" destId="{62FC01D9-86E1-684C-A4D4-8E492674260F}" srcOrd="9" destOrd="0" presId="urn:microsoft.com/office/officeart/2008/layout/LinedList"/>
    <dgm:cxn modelId="{7A7337BD-E469-2B44-A558-67BE77BF1C28}" type="presParOf" srcId="{D92E1CA0-BA06-0444-8D30-BA3E083F7A91}" destId="{C25740DE-E1A3-7044-9552-5ECC4D8CA921}" srcOrd="10" destOrd="0" presId="urn:microsoft.com/office/officeart/2008/layout/LinedList"/>
    <dgm:cxn modelId="{6D7BBD50-F14A-4646-9D67-1A9B5AE70188}" type="presParOf" srcId="{C25740DE-E1A3-7044-9552-5ECC4D8CA921}" destId="{D1E3892F-FF87-4845-9E86-44A97F389A74}" srcOrd="0" destOrd="0" presId="urn:microsoft.com/office/officeart/2008/layout/LinedList"/>
    <dgm:cxn modelId="{B8462842-8918-494E-A314-79C5912F68F5}" type="presParOf" srcId="{C25740DE-E1A3-7044-9552-5ECC4D8CA921}" destId="{43E3B672-7717-BF4F-AECB-A227D4B335C6}" srcOrd="1" destOrd="0" presId="urn:microsoft.com/office/officeart/2008/layout/LinedList"/>
    <dgm:cxn modelId="{945BDDFB-95EA-8748-BE60-69F7843F68DE}" type="presParOf" srcId="{C25740DE-E1A3-7044-9552-5ECC4D8CA921}" destId="{B8FB89D7-A42A-384F-8C4D-1A53BF24D99F}" srcOrd="2" destOrd="0" presId="urn:microsoft.com/office/officeart/2008/layout/LinedList"/>
    <dgm:cxn modelId="{9681196D-0F8B-1041-8E63-D8938F7CA0D9}" type="presParOf" srcId="{D92E1CA0-BA06-0444-8D30-BA3E083F7A91}" destId="{CDAFD84B-0CF5-4148-8BA0-86FBC2D58782}" srcOrd="11" destOrd="0" presId="urn:microsoft.com/office/officeart/2008/layout/LinedList"/>
    <dgm:cxn modelId="{A3503B2C-C770-524E-ADDB-A9C8DCEA3322}" type="presParOf" srcId="{D92E1CA0-BA06-0444-8D30-BA3E083F7A91}" destId="{CB847A0E-7681-CB46-AD9F-D03F2815CC43}" srcOrd="12"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3</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E5F3AF11-FDE6-A545-8DEF-78EFA49A3429}"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C23182DE-8923-054B-92C3-554406850881}" type="presOf" srcId="{C2945230-8A03-49C4-AE11-508590DB7B8B}" destId="{DDF5C611-4A57-4D32-BF4D-AD972F42154B}" srcOrd="0" destOrd="0" presId="urn:microsoft.com/office/officeart/2005/8/layout/venn1"/>
    <dgm:cxn modelId="{4607A6C4-58C5-5446-BD14-B03D7F2AB4EF}"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2BA0D8E-884F-D545-BFF7-95207C181DAB}"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CA"/>
        </a:p>
      </dgm:t>
    </dgm:pt>
    <dgm:pt modelId="{63338DFF-D947-4C0D-B7F0-48B3741DF7DA}">
      <dgm:prSet custT="1"/>
      <dgm:spPr/>
      <dgm:t>
        <a:bodyPr/>
        <a:lstStyle/>
        <a:p>
          <a:pPr rtl="0"/>
          <a:r>
            <a:rPr lang="en-CA" sz="2800" dirty="0"/>
            <a:t>Express Notice of Assessment</a:t>
          </a:r>
        </a:p>
      </dgm:t>
    </dgm:pt>
    <dgm:pt modelId="{B899D5EC-4567-43FE-AC78-6EC2FD57D4F9}" type="parTrans" cxnId="{C56BCB63-1092-4E46-9777-495C99942457}">
      <dgm:prSet/>
      <dgm:spPr/>
      <dgm:t>
        <a:bodyPr/>
        <a:lstStyle/>
        <a:p>
          <a:endParaRPr lang="en-US"/>
        </a:p>
      </dgm:t>
    </dgm:pt>
    <dgm:pt modelId="{3B31AD9D-07A6-4045-AF5D-3CAA23001A20}" type="sibTrans" cxnId="{C56BCB63-1092-4E46-9777-495C99942457}">
      <dgm:prSet/>
      <dgm:spPr/>
      <dgm:t>
        <a:bodyPr/>
        <a:lstStyle/>
        <a:p>
          <a:endParaRPr lang="en-US"/>
        </a:p>
      </dgm:t>
    </dgm:pt>
    <dgm:pt modelId="{F8E29858-C120-7844-9AC6-EAC2260B40D4}" type="pres">
      <dgm:prSet presAssocID="{02BA0D8E-884F-D545-BFF7-95207C181DAB}" presName="vert0" presStyleCnt="0">
        <dgm:presLayoutVars>
          <dgm:dir/>
          <dgm:animOne val="branch"/>
          <dgm:animLvl val="lvl"/>
        </dgm:presLayoutVars>
      </dgm:prSet>
      <dgm:spPr/>
    </dgm:pt>
    <dgm:pt modelId="{049CEB3F-75E3-DF45-9F1A-57EABC27C41B}" type="pres">
      <dgm:prSet presAssocID="{63338DFF-D947-4C0D-B7F0-48B3741DF7DA}" presName="thickLine" presStyleLbl="alignNode1" presStyleIdx="0" presStyleCnt="1"/>
      <dgm:spPr/>
    </dgm:pt>
    <dgm:pt modelId="{E2E6DEF2-44C5-BC4A-B363-F14A31A71EFB}" type="pres">
      <dgm:prSet presAssocID="{63338DFF-D947-4C0D-B7F0-48B3741DF7DA}" presName="horz1" presStyleCnt="0"/>
      <dgm:spPr/>
    </dgm:pt>
    <dgm:pt modelId="{990FAA21-2BE9-5B40-A872-9B797173A544}" type="pres">
      <dgm:prSet presAssocID="{63338DFF-D947-4C0D-B7F0-48B3741DF7DA}" presName="tx1" presStyleLbl="revTx" presStyleIdx="0" presStyleCnt="1"/>
      <dgm:spPr/>
    </dgm:pt>
    <dgm:pt modelId="{23009F2F-BC02-324E-9F77-3E677341D717}" type="pres">
      <dgm:prSet presAssocID="{63338DFF-D947-4C0D-B7F0-48B3741DF7DA}" presName="vert1" presStyleCnt="0"/>
      <dgm:spPr/>
    </dgm:pt>
  </dgm:ptLst>
  <dgm:cxnLst>
    <dgm:cxn modelId="{12E3A45F-68FC-0F45-9EB3-B7C67A66F381}" type="presOf" srcId="{02BA0D8E-884F-D545-BFF7-95207C181DAB}" destId="{F8E29858-C120-7844-9AC6-EAC2260B40D4}" srcOrd="0" destOrd="0" presId="urn:microsoft.com/office/officeart/2008/layout/LinedList"/>
    <dgm:cxn modelId="{C56BCB63-1092-4E46-9777-495C99942457}" srcId="{02BA0D8E-884F-D545-BFF7-95207C181DAB}" destId="{63338DFF-D947-4C0D-B7F0-48B3741DF7DA}" srcOrd="0" destOrd="0" parTransId="{B899D5EC-4567-43FE-AC78-6EC2FD57D4F9}" sibTransId="{3B31AD9D-07A6-4045-AF5D-3CAA23001A20}"/>
    <dgm:cxn modelId="{717896AC-0CF1-A446-9D6B-24DB1C79DAA5}" type="presOf" srcId="{63338DFF-D947-4C0D-B7F0-48B3741DF7DA}" destId="{990FAA21-2BE9-5B40-A872-9B797173A544}" srcOrd="0" destOrd="0" presId="urn:microsoft.com/office/officeart/2008/layout/LinedList"/>
    <dgm:cxn modelId="{B2D32D0B-C0BF-6448-84BB-5F4C1BE3A453}" type="presParOf" srcId="{F8E29858-C120-7844-9AC6-EAC2260B40D4}" destId="{049CEB3F-75E3-DF45-9F1A-57EABC27C41B}" srcOrd="0" destOrd="0" presId="urn:microsoft.com/office/officeart/2008/layout/LinedList"/>
    <dgm:cxn modelId="{0D91C83A-8A8C-FB47-A2AB-1E8D729EB690}" type="presParOf" srcId="{F8E29858-C120-7844-9AC6-EAC2260B40D4}" destId="{E2E6DEF2-44C5-BC4A-B363-F14A31A71EFB}" srcOrd="1" destOrd="0" presId="urn:microsoft.com/office/officeart/2008/layout/LinedList"/>
    <dgm:cxn modelId="{D239FFDE-8A37-6240-A553-A1EBE0D4197C}" type="presParOf" srcId="{E2E6DEF2-44C5-BC4A-B363-F14A31A71EFB}" destId="{990FAA21-2BE9-5B40-A872-9B797173A544}" srcOrd="0" destOrd="0" presId="urn:microsoft.com/office/officeart/2008/layout/LinedList"/>
    <dgm:cxn modelId="{E378C55C-BB15-D348-A26C-D3C61D5728C7}" type="presParOf" srcId="{E2E6DEF2-44C5-BC4A-B363-F14A31A71EFB}" destId="{23009F2F-BC02-324E-9F77-3E677341D717}"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4</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E5F3AF11-FDE6-A545-8DEF-78EFA49A3429}"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C23182DE-8923-054B-92C3-554406850881}" type="presOf" srcId="{C2945230-8A03-49C4-AE11-508590DB7B8B}" destId="{DDF5C611-4A57-4D32-BF4D-AD972F42154B}" srcOrd="0" destOrd="0" presId="urn:microsoft.com/office/officeart/2005/8/layout/venn1"/>
    <dgm:cxn modelId="{4607A6C4-58C5-5446-BD14-B03D7F2AB4EF}"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5</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5DE4133C-0563-2948-AF02-5A4A93A7CB69}" type="presOf" srcId="{C2945230-8A03-49C4-AE11-508590DB7B8B}" destId="{DDF5C611-4A57-4D32-BF4D-AD972F42154B}" srcOrd="0" destOrd="0" presId="urn:microsoft.com/office/officeart/2005/8/layout/venn1"/>
    <dgm:cxn modelId="{ED91AE72-499F-904A-B094-E4AE0782B3BD}"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5ADBE70A-2575-564B-AF07-683F1DCE182A}"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E8D5DE3-8F25-49B4-B642-14F617CBD0EA}"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1DC2029D-CFA0-4A2F-A702-90A961F2577B}">
      <dgm:prSet custT="1"/>
      <dgm:spPr/>
      <dgm:t>
        <a:bodyPr/>
        <a:lstStyle/>
        <a:p>
          <a:r>
            <a:rPr lang="en-CA" sz="3200" dirty="0"/>
            <a:t>a convenient way to attach source documents to a tax file</a:t>
          </a:r>
          <a:endParaRPr lang="en-US" sz="3200" dirty="0"/>
        </a:p>
      </dgm:t>
    </dgm:pt>
    <dgm:pt modelId="{C15A013A-556F-4306-B6F7-31DC0E973A1C}" type="parTrans" cxnId="{63DCE9AF-CC12-4CD2-B741-F1631A72D0D1}">
      <dgm:prSet/>
      <dgm:spPr/>
      <dgm:t>
        <a:bodyPr/>
        <a:lstStyle/>
        <a:p>
          <a:endParaRPr lang="en-US"/>
        </a:p>
      </dgm:t>
    </dgm:pt>
    <dgm:pt modelId="{32A729F3-6096-467B-B4A7-88412AB4BA9C}" type="sibTrans" cxnId="{63DCE9AF-CC12-4CD2-B741-F1631A72D0D1}">
      <dgm:prSet/>
      <dgm:spPr/>
      <dgm:t>
        <a:bodyPr/>
        <a:lstStyle/>
        <a:p>
          <a:endParaRPr lang="en-US"/>
        </a:p>
      </dgm:t>
    </dgm:pt>
    <dgm:pt modelId="{224FB68C-B74A-3F49-BE85-23B1DCF91846}" type="pres">
      <dgm:prSet presAssocID="{FE8D5DE3-8F25-49B4-B642-14F617CBD0EA}" presName="vert0" presStyleCnt="0">
        <dgm:presLayoutVars>
          <dgm:dir/>
          <dgm:animOne val="branch"/>
          <dgm:animLvl val="lvl"/>
        </dgm:presLayoutVars>
      </dgm:prSet>
      <dgm:spPr/>
    </dgm:pt>
    <dgm:pt modelId="{85ED5772-130F-804B-ABDF-0431B2285CAB}" type="pres">
      <dgm:prSet presAssocID="{1DC2029D-CFA0-4A2F-A702-90A961F2577B}" presName="thickLine" presStyleLbl="alignNode1" presStyleIdx="0" presStyleCnt="1"/>
      <dgm:spPr/>
    </dgm:pt>
    <dgm:pt modelId="{66EB8D65-8BD1-FD4E-9BC0-3D12B8A087C8}" type="pres">
      <dgm:prSet presAssocID="{1DC2029D-CFA0-4A2F-A702-90A961F2577B}" presName="horz1" presStyleCnt="0"/>
      <dgm:spPr/>
    </dgm:pt>
    <dgm:pt modelId="{BF99E26A-56A0-7C4E-A1FE-6B51D7DD4063}" type="pres">
      <dgm:prSet presAssocID="{1DC2029D-CFA0-4A2F-A702-90A961F2577B}" presName="tx1" presStyleLbl="revTx" presStyleIdx="0" presStyleCnt="1"/>
      <dgm:spPr/>
    </dgm:pt>
    <dgm:pt modelId="{6C0BB382-AC65-8440-B9C8-2C5A60845711}" type="pres">
      <dgm:prSet presAssocID="{1DC2029D-CFA0-4A2F-A702-90A961F2577B}" presName="vert1" presStyleCnt="0"/>
      <dgm:spPr/>
    </dgm:pt>
  </dgm:ptLst>
  <dgm:cxnLst>
    <dgm:cxn modelId="{244B9B0D-D4A6-5946-A192-5A771D4D3D2B}" type="presOf" srcId="{FE8D5DE3-8F25-49B4-B642-14F617CBD0EA}" destId="{224FB68C-B74A-3F49-BE85-23B1DCF91846}" srcOrd="0" destOrd="0" presId="urn:microsoft.com/office/officeart/2008/layout/LinedList"/>
    <dgm:cxn modelId="{63DCE9AF-CC12-4CD2-B741-F1631A72D0D1}" srcId="{FE8D5DE3-8F25-49B4-B642-14F617CBD0EA}" destId="{1DC2029D-CFA0-4A2F-A702-90A961F2577B}" srcOrd="0" destOrd="0" parTransId="{C15A013A-556F-4306-B6F7-31DC0E973A1C}" sibTransId="{32A729F3-6096-467B-B4A7-88412AB4BA9C}"/>
    <dgm:cxn modelId="{8B3363CF-3E7C-1840-97BC-020918C2215F}" type="presOf" srcId="{1DC2029D-CFA0-4A2F-A702-90A961F2577B}" destId="{BF99E26A-56A0-7C4E-A1FE-6B51D7DD4063}" srcOrd="0" destOrd="0" presId="urn:microsoft.com/office/officeart/2008/layout/LinedList"/>
    <dgm:cxn modelId="{37234070-960A-F348-911D-DB81BC936F7C}" type="presParOf" srcId="{224FB68C-B74A-3F49-BE85-23B1DCF91846}" destId="{85ED5772-130F-804B-ABDF-0431B2285CAB}" srcOrd="0" destOrd="0" presId="urn:microsoft.com/office/officeart/2008/layout/LinedList"/>
    <dgm:cxn modelId="{A487F5D3-BF8F-8C43-8A3E-2D41BE690CB5}" type="presParOf" srcId="{224FB68C-B74A-3F49-BE85-23B1DCF91846}" destId="{66EB8D65-8BD1-FD4E-9BC0-3D12B8A087C8}" srcOrd="1" destOrd="0" presId="urn:microsoft.com/office/officeart/2008/layout/LinedList"/>
    <dgm:cxn modelId="{D9ABA825-A690-A349-8925-1664035CE235}" type="presParOf" srcId="{66EB8D65-8BD1-FD4E-9BC0-3D12B8A087C8}" destId="{BF99E26A-56A0-7C4E-A1FE-6B51D7DD4063}" srcOrd="0" destOrd="0" presId="urn:microsoft.com/office/officeart/2008/layout/LinedList"/>
    <dgm:cxn modelId="{94C697DC-3942-2B40-984F-FDE837DD2EEF}" type="presParOf" srcId="{66EB8D65-8BD1-FD4E-9BC0-3D12B8A087C8}" destId="{6C0BB382-AC65-8440-B9C8-2C5A60845711}"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7</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F428E95F-C1B6-4345-AF7D-899AC7FA995F}"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EE55FDEA-6888-5942-84E4-638246E5441B}" type="presOf" srcId="{C2945230-8A03-49C4-AE11-508590DB7B8B}" destId="{DDF5C611-4A57-4D32-BF4D-AD972F42154B}" srcOrd="0" destOrd="0" presId="urn:microsoft.com/office/officeart/2005/8/layout/venn1"/>
    <dgm:cxn modelId="{3EF5EF64-8F0C-CE4D-A33B-814F4A55A202}"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DEDEA1E-A791-ED43-B8F7-042878B392C2}"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US"/>
        </a:p>
      </dgm:t>
    </dgm:pt>
    <dgm:pt modelId="{CBAFF057-DFF4-9240-90C3-99C3358A915C}">
      <dgm:prSet/>
      <dgm:spPr/>
      <dgm:t>
        <a:bodyPr/>
        <a:lstStyle/>
        <a:p>
          <a:pPr rtl="0"/>
          <a:r>
            <a:rPr lang="en-US" dirty="0"/>
            <a:t>HyperDocs management</a:t>
          </a:r>
        </a:p>
      </dgm:t>
    </dgm:pt>
    <dgm:pt modelId="{16A61E8D-4669-804D-8DD2-EB890EAE0E39}" type="parTrans" cxnId="{829A2295-0A35-4D48-8E05-9AC7F5975828}">
      <dgm:prSet/>
      <dgm:spPr/>
      <dgm:t>
        <a:bodyPr/>
        <a:lstStyle/>
        <a:p>
          <a:endParaRPr lang="en-US"/>
        </a:p>
      </dgm:t>
    </dgm:pt>
    <dgm:pt modelId="{49A8A604-CDA3-A847-B394-C2992D2238DF}" type="sibTrans" cxnId="{829A2295-0A35-4D48-8E05-9AC7F5975828}">
      <dgm:prSet/>
      <dgm:spPr/>
      <dgm:t>
        <a:bodyPr/>
        <a:lstStyle/>
        <a:p>
          <a:endParaRPr lang="en-US"/>
        </a:p>
      </dgm:t>
    </dgm:pt>
    <dgm:pt modelId="{09677A40-7047-624F-997B-88EB161DF8D4}">
      <dgm:prSet/>
      <dgm:spPr/>
      <dgm:t>
        <a:bodyPr/>
        <a:lstStyle/>
        <a:p>
          <a:pPr rtl="0"/>
          <a:r>
            <a:rPr lang="en-US" dirty="0"/>
            <a:t>Removing documents</a:t>
          </a:r>
        </a:p>
      </dgm:t>
    </dgm:pt>
    <dgm:pt modelId="{5FDDB3F7-675B-DE42-A68C-A8E95AA50004}" type="parTrans" cxnId="{5D003ECB-53FC-EC45-9576-9D664FBAF4B1}">
      <dgm:prSet/>
      <dgm:spPr/>
      <dgm:t>
        <a:bodyPr/>
        <a:lstStyle/>
        <a:p>
          <a:endParaRPr lang="en-US"/>
        </a:p>
      </dgm:t>
    </dgm:pt>
    <dgm:pt modelId="{F51C938F-CDF1-ED42-A2EF-960CC13EF03B}" type="sibTrans" cxnId="{5D003ECB-53FC-EC45-9576-9D664FBAF4B1}">
      <dgm:prSet/>
      <dgm:spPr/>
      <dgm:t>
        <a:bodyPr/>
        <a:lstStyle/>
        <a:p>
          <a:endParaRPr lang="en-US"/>
        </a:p>
      </dgm:t>
    </dgm:pt>
    <dgm:pt modelId="{B22DBAC5-31D0-C244-B9BC-FF5CAE5451EA}">
      <dgm:prSet/>
      <dgm:spPr/>
      <dgm:t>
        <a:bodyPr/>
        <a:lstStyle/>
        <a:p>
          <a:pPr rtl="0"/>
          <a:r>
            <a:rPr lang="en-US" dirty="0"/>
            <a:t>Synchronizing</a:t>
          </a:r>
        </a:p>
      </dgm:t>
    </dgm:pt>
    <dgm:pt modelId="{C8C73D3A-6F27-CF45-A5E7-9F554AC30604}" type="parTrans" cxnId="{8A4A6B00-0BBA-124A-9B25-008FFB473D9B}">
      <dgm:prSet/>
      <dgm:spPr/>
      <dgm:t>
        <a:bodyPr/>
        <a:lstStyle/>
        <a:p>
          <a:endParaRPr lang="en-US"/>
        </a:p>
      </dgm:t>
    </dgm:pt>
    <dgm:pt modelId="{215F2700-3CDE-6E43-BBA6-5A5AEC713524}" type="sibTrans" cxnId="{8A4A6B00-0BBA-124A-9B25-008FFB473D9B}">
      <dgm:prSet/>
      <dgm:spPr/>
      <dgm:t>
        <a:bodyPr/>
        <a:lstStyle/>
        <a:p>
          <a:endParaRPr lang="en-US"/>
        </a:p>
      </dgm:t>
    </dgm:pt>
    <dgm:pt modelId="{F17F4E8C-A178-EF42-A846-5F2E7590C1EF}" type="pres">
      <dgm:prSet presAssocID="{6DEDEA1E-A791-ED43-B8F7-042878B392C2}" presName="vert0" presStyleCnt="0">
        <dgm:presLayoutVars>
          <dgm:dir/>
          <dgm:animOne val="branch"/>
          <dgm:animLvl val="lvl"/>
        </dgm:presLayoutVars>
      </dgm:prSet>
      <dgm:spPr/>
    </dgm:pt>
    <dgm:pt modelId="{A61FEA80-B444-B049-AB95-64ED834DF4D0}" type="pres">
      <dgm:prSet presAssocID="{CBAFF057-DFF4-9240-90C3-99C3358A915C}" presName="thickLine" presStyleLbl="alignNode1" presStyleIdx="0" presStyleCnt="3"/>
      <dgm:spPr/>
    </dgm:pt>
    <dgm:pt modelId="{DFC61F70-6D77-4346-8AC6-3E5EC6243A56}" type="pres">
      <dgm:prSet presAssocID="{CBAFF057-DFF4-9240-90C3-99C3358A915C}" presName="horz1" presStyleCnt="0"/>
      <dgm:spPr/>
    </dgm:pt>
    <dgm:pt modelId="{5754183A-B017-F44D-A51C-8FDA14AF5DD7}" type="pres">
      <dgm:prSet presAssocID="{CBAFF057-DFF4-9240-90C3-99C3358A915C}" presName="tx1" presStyleLbl="revTx" presStyleIdx="0" presStyleCnt="3"/>
      <dgm:spPr/>
    </dgm:pt>
    <dgm:pt modelId="{CEB64835-D1BE-9D43-956C-1C3BEDA674E8}" type="pres">
      <dgm:prSet presAssocID="{CBAFF057-DFF4-9240-90C3-99C3358A915C}" presName="vert1" presStyleCnt="0"/>
      <dgm:spPr/>
    </dgm:pt>
    <dgm:pt modelId="{A12882AD-60F4-2444-B2A7-5AADC987F242}" type="pres">
      <dgm:prSet presAssocID="{09677A40-7047-624F-997B-88EB161DF8D4}" presName="thickLine" presStyleLbl="alignNode1" presStyleIdx="1" presStyleCnt="3"/>
      <dgm:spPr/>
    </dgm:pt>
    <dgm:pt modelId="{9A1A95ED-C6DC-244C-919B-2841D21B1346}" type="pres">
      <dgm:prSet presAssocID="{09677A40-7047-624F-997B-88EB161DF8D4}" presName="horz1" presStyleCnt="0"/>
      <dgm:spPr/>
    </dgm:pt>
    <dgm:pt modelId="{18600949-D443-E34D-9ECC-FB898DBD8CF4}" type="pres">
      <dgm:prSet presAssocID="{09677A40-7047-624F-997B-88EB161DF8D4}" presName="tx1" presStyleLbl="revTx" presStyleIdx="1" presStyleCnt="3"/>
      <dgm:spPr/>
    </dgm:pt>
    <dgm:pt modelId="{32C568EC-CFBA-E54F-9C27-AF9E1B642784}" type="pres">
      <dgm:prSet presAssocID="{09677A40-7047-624F-997B-88EB161DF8D4}" presName="vert1" presStyleCnt="0"/>
      <dgm:spPr/>
    </dgm:pt>
    <dgm:pt modelId="{CA3B98A3-218C-D641-8C96-EDFF2F7CE6EE}" type="pres">
      <dgm:prSet presAssocID="{B22DBAC5-31D0-C244-B9BC-FF5CAE5451EA}" presName="thickLine" presStyleLbl="alignNode1" presStyleIdx="2" presStyleCnt="3"/>
      <dgm:spPr/>
    </dgm:pt>
    <dgm:pt modelId="{46F46741-6C58-0945-A0F3-488179B53147}" type="pres">
      <dgm:prSet presAssocID="{B22DBAC5-31D0-C244-B9BC-FF5CAE5451EA}" presName="horz1" presStyleCnt="0"/>
      <dgm:spPr/>
    </dgm:pt>
    <dgm:pt modelId="{4D3C26B4-4F98-9D4E-9090-F3AF069E4A4B}" type="pres">
      <dgm:prSet presAssocID="{B22DBAC5-31D0-C244-B9BC-FF5CAE5451EA}" presName="tx1" presStyleLbl="revTx" presStyleIdx="2" presStyleCnt="3"/>
      <dgm:spPr/>
    </dgm:pt>
    <dgm:pt modelId="{DF19F33C-24CC-6549-B51B-89CE0F195900}" type="pres">
      <dgm:prSet presAssocID="{B22DBAC5-31D0-C244-B9BC-FF5CAE5451EA}" presName="vert1" presStyleCnt="0"/>
      <dgm:spPr/>
    </dgm:pt>
  </dgm:ptLst>
  <dgm:cxnLst>
    <dgm:cxn modelId="{8A4A6B00-0BBA-124A-9B25-008FFB473D9B}" srcId="{6DEDEA1E-A791-ED43-B8F7-042878B392C2}" destId="{B22DBAC5-31D0-C244-B9BC-FF5CAE5451EA}" srcOrd="2" destOrd="0" parTransId="{C8C73D3A-6F27-CF45-A5E7-9F554AC30604}" sibTransId="{215F2700-3CDE-6E43-BBA6-5A5AEC713524}"/>
    <dgm:cxn modelId="{820B7713-01FB-CD49-B487-798E7B5F9DC7}" type="presOf" srcId="{6DEDEA1E-A791-ED43-B8F7-042878B392C2}" destId="{F17F4E8C-A178-EF42-A846-5F2E7590C1EF}" srcOrd="0" destOrd="0" presId="urn:microsoft.com/office/officeart/2008/layout/LinedList"/>
    <dgm:cxn modelId="{0904905D-5E9D-0B4B-AEEF-B08F70B8AAB0}" type="presOf" srcId="{09677A40-7047-624F-997B-88EB161DF8D4}" destId="{18600949-D443-E34D-9ECC-FB898DBD8CF4}" srcOrd="0" destOrd="0" presId="urn:microsoft.com/office/officeart/2008/layout/LinedList"/>
    <dgm:cxn modelId="{A6883C6B-A9F1-8E46-9404-4C2BE1BB6451}" type="presOf" srcId="{CBAFF057-DFF4-9240-90C3-99C3358A915C}" destId="{5754183A-B017-F44D-A51C-8FDA14AF5DD7}" srcOrd="0" destOrd="0" presId="urn:microsoft.com/office/officeart/2008/layout/LinedList"/>
    <dgm:cxn modelId="{63374A7B-FDE3-9045-9645-E41EE253E760}" type="presOf" srcId="{B22DBAC5-31D0-C244-B9BC-FF5CAE5451EA}" destId="{4D3C26B4-4F98-9D4E-9090-F3AF069E4A4B}" srcOrd="0" destOrd="0" presId="urn:microsoft.com/office/officeart/2008/layout/LinedList"/>
    <dgm:cxn modelId="{829A2295-0A35-4D48-8E05-9AC7F5975828}" srcId="{6DEDEA1E-A791-ED43-B8F7-042878B392C2}" destId="{CBAFF057-DFF4-9240-90C3-99C3358A915C}" srcOrd="0" destOrd="0" parTransId="{16A61E8D-4669-804D-8DD2-EB890EAE0E39}" sibTransId="{49A8A604-CDA3-A847-B394-C2992D2238DF}"/>
    <dgm:cxn modelId="{5D003ECB-53FC-EC45-9576-9D664FBAF4B1}" srcId="{6DEDEA1E-A791-ED43-B8F7-042878B392C2}" destId="{09677A40-7047-624F-997B-88EB161DF8D4}" srcOrd="1" destOrd="0" parTransId="{5FDDB3F7-675B-DE42-A68C-A8E95AA50004}" sibTransId="{F51C938F-CDF1-ED42-A2EF-960CC13EF03B}"/>
    <dgm:cxn modelId="{6DEB5E0F-F515-9043-B350-F0F20C808B34}" type="presParOf" srcId="{F17F4E8C-A178-EF42-A846-5F2E7590C1EF}" destId="{A61FEA80-B444-B049-AB95-64ED834DF4D0}" srcOrd="0" destOrd="0" presId="urn:microsoft.com/office/officeart/2008/layout/LinedList"/>
    <dgm:cxn modelId="{23EA4282-C39A-1043-B3D7-E510D84318C6}" type="presParOf" srcId="{F17F4E8C-A178-EF42-A846-5F2E7590C1EF}" destId="{DFC61F70-6D77-4346-8AC6-3E5EC6243A56}" srcOrd="1" destOrd="0" presId="urn:microsoft.com/office/officeart/2008/layout/LinedList"/>
    <dgm:cxn modelId="{E5A09913-C8E1-2141-94F2-9C92AEAFF61F}" type="presParOf" srcId="{DFC61F70-6D77-4346-8AC6-3E5EC6243A56}" destId="{5754183A-B017-F44D-A51C-8FDA14AF5DD7}" srcOrd="0" destOrd="0" presId="urn:microsoft.com/office/officeart/2008/layout/LinedList"/>
    <dgm:cxn modelId="{2386BAE7-AD7E-0148-897D-41C7B8C248DD}" type="presParOf" srcId="{DFC61F70-6D77-4346-8AC6-3E5EC6243A56}" destId="{CEB64835-D1BE-9D43-956C-1C3BEDA674E8}" srcOrd="1" destOrd="0" presId="urn:microsoft.com/office/officeart/2008/layout/LinedList"/>
    <dgm:cxn modelId="{1F1306A6-D8EC-874A-863E-3157ECD8A97E}" type="presParOf" srcId="{F17F4E8C-A178-EF42-A846-5F2E7590C1EF}" destId="{A12882AD-60F4-2444-B2A7-5AADC987F242}" srcOrd="2" destOrd="0" presId="urn:microsoft.com/office/officeart/2008/layout/LinedList"/>
    <dgm:cxn modelId="{6032783B-5EBE-3946-A740-5B840609D03C}" type="presParOf" srcId="{F17F4E8C-A178-EF42-A846-5F2E7590C1EF}" destId="{9A1A95ED-C6DC-244C-919B-2841D21B1346}" srcOrd="3" destOrd="0" presId="urn:microsoft.com/office/officeart/2008/layout/LinedList"/>
    <dgm:cxn modelId="{4912768D-B2AB-5C45-9B0A-83F96C4B92D8}" type="presParOf" srcId="{9A1A95ED-C6DC-244C-919B-2841D21B1346}" destId="{18600949-D443-E34D-9ECC-FB898DBD8CF4}" srcOrd="0" destOrd="0" presId="urn:microsoft.com/office/officeart/2008/layout/LinedList"/>
    <dgm:cxn modelId="{FC2AAD2D-D716-C24E-B547-0532F44978CD}" type="presParOf" srcId="{9A1A95ED-C6DC-244C-919B-2841D21B1346}" destId="{32C568EC-CFBA-E54F-9C27-AF9E1B642784}" srcOrd="1" destOrd="0" presId="urn:microsoft.com/office/officeart/2008/layout/LinedList"/>
    <dgm:cxn modelId="{B907E332-E5AB-F34A-8046-4A3DBBDAA117}" type="presParOf" srcId="{F17F4E8C-A178-EF42-A846-5F2E7590C1EF}" destId="{CA3B98A3-218C-D641-8C96-EDFF2F7CE6EE}" srcOrd="4" destOrd="0" presId="urn:microsoft.com/office/officeart/2008/layout/LinedList"/>
    <dgm:cxn modelId="{7873A986-3E2E-9644-9C92-A6802EF0D076}" type="presParOf" srcId="{F17F4E8C-A178-EF42-A846-5F2E7590C1EF}" destId="{46F46741-6C58-0945-A0F3-488179B53147}" srcOrd="5" destOrd="0" presId="urn:microsoft.com/office/officeart/2008/layout/LinedList"/>
    <dgm:cxn modelId="{2EBE8ED1-12A9-CF4F-AB32-89A947FABC3C}" type="presParOf" srcId="{46F46741-6C58-0945-A0F3-488179B53147}" destId="{4D3C26B4-4F98-9D4E-9090-F3AF069E4A4B}" srcOrd="0" destOrd="0" presId="urn:microsoft.com/office/officeart/2008/layout/LinedList"/>
    <dgm:cxn modelId="{810C348A-C9B5-ED46-A486-B15A384CE1E9}" type="presParOf" srcId="{46F46741-6C58-0945-A0F3-488179B53147}" destId="{DF19F33C-24CC-6549-B51B-89CE0F195900}"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8</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F428E95F-C1B6-4345-AF7D-899AC7FA995F}"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EE55FDEA-6888-5942-84E4-638246E5441B}" type="presOf" srcId="{C2945230-8A03-49C4-AE11-508590DB7B8B}" destId="{DDF5C611-4A57-4D32-BF4D-AD972F42154B}" srcOrd="0" destOrd="0" presId="urn:microsoft.com/office/officeart/2005/8/layout/venn1"/>
    <dgm:cxn modelId="{3EF5EF64-8F0C-CE4D-A33B-814F4A55A202}"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Lst>
  <dgm:cxnLst>
    <dgm:cxn modelId="{2187DEB8-E938-4F4A-A64C-2BB64EB7DF79}" type="presOf" srcId="{02BA0D8E-884F-D545-BFF7-95207C181DAB}" destId="{5325FF06-BE85-6742-9495-B8F42BFC9B7F}"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4F371D9-EE28-43D3-A86D-541CB7E51DB8}" type="doc">
      <dgm:prSet loTypeId="urn:microsoft.com/office/officeart/2005/8/layout/venn1" loCatId="relationship" qsTypeId="urn:microsoft.com/office/officeart/2005/8/quickstyle/simple1" qsCatId="simple" csTypeId="urn:microsoft.com/office/officeart/2005/8/colors/accent1_2" csCatId="accent1" phldr="1"/>
      <dgm:spPr/>
      <dgm:t>
        <a:bodyPr/>
        <a:lstStyle/>
        <a:p>
          <a:endParaRPr lang="en-US"/>
        </a:p>
      </dgm:t>
    </dgm:pt>
    <dgm:pt modelId="{C2945230-8A03-49C4-AE11-508590DB7B8B}">
      <dgm:prSet/>
      <dgm:spPr/>
      <dgm:t>
        <a:bodyPr/>
        <a:lstStyle/>
        <a:p>
          <a:r>
            <a:rPr lang="en-US" b="1" dirty="0">
              <a:solidFill>
                <a:schemeClr val="bg1"/>
              </a:solidFill>
            </a:rPr>
            <a:t>Page 10-13</a:t>
          </a:r>
        </a:p>
      </dgm:t>
    </dgm:pt>
    <dgm:pt modelId="{FC8924DD-BCE3-491E-AC57-3330F43EE0F3}" type="parTrans" cxnId="{5CB88DD1-22D4-42B5-A4FE-416A16A7EE1C}">
      <dgm:prSet/>
      <dgm:spPr/>
      <dgm:t>
        <a:bodyPr/>
        <a:lstStyle/>
        <a:p>
          <a:endParaRPr lang="en-US"/>
        </a:p>
      </dgm:t>
    </dgm:pt>
    <dgm:pt modelId="{0CE224DD-430C-4167-8C66-F0356FD49815}" type="sibTrans" cxnId="{5CB88DD1-22D4-42B5-A4FE-416A16A7EE1C}">
      <dgm:prSet/>
      <dgm:spPr/>
      <dgm:t>
        <a:bodyPr/>
        <a:lstStyle/>
        <a:p>
          <a:endParaRPr lang="en-US"/>
        </a:p>
      </dgm:t>
    </dgm:pt>
    <dgm:pt modelId="{834CDD0F-2A72-40E4-9F5C-254C6DC50A0F}" type="pres">
      <dgm:prSet presAssocID="{44F371D9-EE28-43D3-A86D-541CB7E51DB8}" presName="compositeShape" presStyleCnt="0">
        <dgm:presLayoutVars>
          <dgm:chMax val="7"/>
          <dgm:dir/>
          <dgm:resizeHandles val="exact"/>
        </dgm:presLayoutVars>
      </dgm:prSet>
      <dgm:spPr/>
    </dgm:pt>
    <dgm:pt modelId="{DDF5C611-4A57-4D32-BF4D-AD972F42154B}" type="pres">
      <dgm:prSet presAssocID="{C2945230-8A03-49C4-AE11-508590DB7B8B}" presName="circ1TxSh" presStyleLbl="vennNode1" presStyleIdx="0" presStyleCnt="1"/>
      <dgm:spPr/>
    </dgm:pt>
  </dgm:ptLst>
  <dgm:cxnLst>
    <dgm:cxn modelId="{C697B71C-A06A-B343-B2FE-F2BCEBC3CD8A}" type="presOf" srcId="{C2945230-8A03-49C4-AE11-508590DB7B8B}" destId="{DDF5C611-4A57-4D32-BF4D-AD972F42154B}" srcOrd="0" destOrd="0" presId="urn:microsoft.com/office/officeart/2005/8/layout/venn1"/>
    <dgm:cxn modelId="{8D2EBB50-94E1-5C40-8A74-4E6CFCAB709B}" type="presOf" srcId="{44F371D9-EE28-43D3-A86D-541CB7E51DB8}" destId="{834CDD0F-2A72-40E4-9F5C-254C6DC50A0F}" srcOrd="0" destOrd="0" presId="urn:microsoft.com/office/officeart/2005/8/layout/venn1"/>
    <dgm:cxn modelId="{5CB88DD1-22D4-42B5-A4FE-416A16A7EE1C}" srcId="{44F371D9-EE28-43D3-A86D-541CB7E51DB8}" destId="{C2945230-8A03-49C4-AE11-508590DB7B8B}" srcOrd="0" destOrd="0" parTransId="{FC8924DD-BCE3-491E-AC57-3330F43EE0F3}" sibTransId="{0CE224DD-430C-4167-8C66-F0356FD49815}"/>
    <dgm:cxn modelId="{625A59C3-3143-B645-A5F6-33548B46B6AE}" type="presParOf" srcId="{834CDD0F-2A72-40E4-9F5C-254C6DC50A0F}" destId="{DDF5C611-4A57-4D32-BF4D-AD972F42154B}" srcOrd="0" destOrd="0" presId="urn:microsoft.com/office/officeart/2005/8/layout/venn1"/>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6DEDEA1E-A791-ED43-B8F7-042878B392C2}" type="doc">
      <dgm:prSet loTypeId="urn:microsoft.com/office/officeart/2008/layout/LinedList" loCatId="list" qsTypeId="urn:microsoft.com/office/officeart/2005/8/quickstyle/simple3" qsCatId="simple" csTypeId="urn:microsoft.com/office/officeart/2005/8/colors/accent1_2" csCatId="accent1" phldr="1"/>
      <dgm:spPr/>
      <dgm:t>
        <a:bodyPr/>
        <a:lstStyle/>
        <a:p>
          <a:endParaRPr lang="en-US"/>
        </a:p>
      </dgm:t>
    </dgm:pt>
    <dgm:pt modelId="{09677A40-7047-624F-997B-88EB161DF8D4}">
      <dgm:prSet/>
      <dgm:spPr/>
      <dgm:t>
        <a:bodyPr/>
        <a:lstStyle/>
        <a:p>
          <a:pPr rtl="0"/>
          <a:r>
            <a:rPr lang="en-US" dirty="0"/>
            <a:t>snapshot</a:t>
          </a:r>
        </a:p>
      </dgm:t>
    </dgm:pt>
    <dgm:pt modelId="{5FDDB3F7-675B-DE42-A68C-A8E95AA50004}" type="parTrans" cxnId="{5D003ECB-53FC-EC45-9576-9D664FBAF4B1}">
      <dgm:prSet/>
      <dgm:spPr/>
      <dgm:t>
        <a:bodyPr/>
        <a:lstStyle/>
        <a:p>
          <a:endParaRPr lang="en-US"/>
        </a:p>
      </dgm:t>
    </dgm:pt>
    <dgm:pt modelId="{F51C938F-CDF1-ED42-A2EF-960CC13EF03B}" type="sibTrans" cxnId="{5D003ECB-53FC-EC45-9576-9D664FBAF4B1}">
      <dgm:prSet/>
      <dgm:spPr/>
      <dgm:t>
        <a:bodyPr/>
        <a:lstStyle/>
        <a:p>
          <a:endParaRPr lang="en-US"/>
        </a:p>
      </dgm:t>
    </dgm:pt>
    <dgm:pt modelId="{B22DBAC5-31D0-C244-B9BC-FF5CAE5451EA}">
      <dgm:prSet/>
      <dgm:spPr/>
      <dgm:t>
        <a:bodyPr/>
        <a:lstStyle/>
        <a:p>
          <a:pPr rtl="0"/>
          <a:r>
            <a:rPr lang="en-US" dirty="0"/>
            <a:t>prior-year variance</a:t>
          </a:r>
        </a:p>
      </dgm:t>
    </dgm:pt>
    <dgm:pt modelId="{C8C73D3A-6F27-CF45-A5E7-9F554AC30604}" type="parTrans" cxnId="{8A4A6B00-0BBA-124A-9B25-008FFB473D9B}">
      <dgm:prSet/>
      <dgm:spPr/>
      <dgm:t>
        <a:bodyPr/>
        <a:lstStyle/>
        <a:p>
          <a:endParaRPr lang="en-US"/>
        </a:p>
      </dgm:t>
    </dgm:pt>
    <dgm:pt modelId="{215F2700-3CDE-6E43-BBA6-5A5AEC713524}" type="sibTrans" cxnId="{8A4A6B00-0BBA-124A-9B25-008FFB473D9B}">
      <dgm:prSet/>
      <dgm:spPr/>
      <dgm:t>
        <a:bodyPr/>
        <a:lstStyle/>
        <a:p>
          <a:endParaRPr lang="en-US"/>
        </a:p>
      </dgm:t>
    </dgm:pt>
    <dgm:pt modelId="{053FF9E9-1282-3242-A25B-A2D54AA33CB3}" type="pres">
      <dgm:prSet presAssocID="{6DEDEA1E-A791-ED43-B8F7-042878B392C2}" presName="vert0" presStyleCnt="0">
        <dgm:presLayoutVars>
          <dgm:dir/>
          <dgm:animOne val="branch"/>
          <dgm:animLvl val="lvl"/>
        </dgm:presLayoutVars>
      </dgm:prSet>
      <dgm:spPr/>
    </dgm:pt>
    <dgm:pt modelId="{1C956102-04AC-9146-9DE9-91963ABA5E87}" type="pres">
      <dgm:prSet presAssocID="{09677A40-7047-624F-997B-88EB161DF8D4}" presName="thickLine" presStyleLbl="alignNode1" presStyleIdx="0" presStyleCnt="2"/>
      <dgm:spPr/>
    </dgm:pt>
    <dgm:pt modelId="{6966C910-029C-EF43-832B-B7F3E8D89531}" type="pres">
      <dgm:prSet presAssocID="{09677A40-7047-624F-997B-88EB161DF8D4}" presName="horz1" presStyleCnt="0"/>
      <dgm:spPr/>
    </dgm:pt>
    <dgm:pt modelId="{049441E8-D039-6D44-8CE4-BC484711869B}" type="pres">
      <dgm:prSet presAssocID="{09677A40-7047-624F-997B-88EB161DF8D4}" presName="tx1" presStyleLbl="revTx" presStyleIdx="0" presStyleCnt="2"/>
      <dgm:spPr/>
    </dgm:pt>
    <dgm:pt modelId="{E8D95466-FAA0-E44D-AC34-BB02520818BB}" type="pres">
      <dgm:prSet presAssocID="{09677A40-7047-624F-997B-88EB161DF8D4}" presName="vert1" presStyleCnt="0"/>
      <dgm:spPr/>
    </dgm:pt>
    <dgm:pt modelId="{A1942FF3-2B41-584B-AB36-EA2148528194}" type="pres">
      <dgm:prSet presAssocID="{B22DBAC5-31D0-C244-B9BC-FF5CAE5451EA}" presName="thickLine" presStyleLbl="alignNode1" presStyleIdx="1" presStyleCnt="2"/>
      <dgm:spPr/>
    </dgm:pt>
    <dgm:pt modelId="{817AA15C-3EFC-C049-8752-199CE86E2F6C}" type="pres">
      <dgm:prSet presAssocID="{B22DBAC5-31D0-C244-B9BC-FF5CAE5451EA}" presName="horz1" presStyleCnt="0"/>
      <dgm:spPr/>
    </dgm:pt>
    <dgm:pt modelId="{E85DEE33-DF64-CF42-838C-C7D840DC3830}" type="pres">
      <dgm:prSet presAssocID="{B22DBAC5-31D0-C244-B9BC-FF5CAE5451EA}" presName="tx1" presStyleLbl="revTx" presStyleIdx="1" presStyleCnt="2"/>
      <dgm:spPr/>
    </dgm:pt>
    <dgm:pt modelId="{8700BE30-2364-2943-A920-AAA35FB7DF7D}" type="pres">
      <dgm:prSet presAssocID="{B22DBAC5-31D0-C244-B9BC-FF5CAE5451EA}" presName="vert1" presStyleCnt="0"/>
      <dgm:spPr/>
    </dgm:pt>
  </dgm:ptLst>
  <dgm:cxnLst>
    <dgm:cxn modelId="{8A4A6B00-0BBA-124A-9B25-008FFB473D9B}" srcId="{6DEDEA1E-A791-ED43-B8F7-042878B392C2}" destId="{B22DBAC5-31D0-C244-B9BC-FF5CAE5451EA}" srcOrd="1" destOrd="0" parTransId="{C8C73D3A-6F27-CF45-A5E7-9F554AC30604}" sibTransId="{215F2700-3CDE-6E43-BBA6-5A5AEC713524}"/>
    <dgm:cxn modelId="{E938623B-28A7-034D-BA83-DBC70A1DABE9}" type="presOf" srcId="{B22DBAC5-31D0-C244-B9BC-FF5CAE5451EA}" destId="{E85DEE33-DF64-CF42-838C-C7D840DC3830}" srcOrd="0" destOrd="0" presId="urn:microsoft.com/office/officeart/2008/layout/LinedList"/>
    <dgm:cxn modelId="{4DF95D69-5B98-2A48-9CA3-9EE43B79407E}" type="presOf" srcId="{09677A40-7047-624F-997B-88EB161DF8D4}" destId="{049441E8-D039-6D44-8CE4-BC484711869B}" srcOrd="0" destOrd="0" presId="urn:microsoft.com/office/officeart/2008/layout/LinedList"/>
    <dgm:cxn modelId="{5D003ECB-53FC-EC45-9576-9D664FBAF4B1}" srcId="{6DEDEA1E-A791-ED43-B8F7-042878B392C2}" destId="{09677A40-7047-624F-997B-88EB161DF8D4}" srcOrd="0" destOrd="0" parTransId="{5FDDB3F7-675B-DE42-A68C-A8E95AA50004}" sibTransId="{F51C938F-CDF1-ED42-A2EF-960CC13EF03B}"/>
    <dgm:cxn modelId="{AFE312D0-4E80-5F4F-808E-63F6064A1FB2}" type="presOf" srcId="{6DEDEA1E-A791-ED43-B8F7-042878B392C2}" destId="{053FF9E9-1282-3242-A25B-A2D54AA33CB3}" srcOrd="0" destOrd="0" presId="urn:microsoft.com/office/officeart/2008/layout/LinedList"/>
    <dgm:cxn modelId="{EC42B10B-5924-0A44-8934-0BB3E6848AE7}" type="presParOf" srcId="{053FF9E9-1282-3242-A25B-A2D54AA33CB3}" destId="{1C956102-04AC-9146-9DE9-91963ABA5E87}" srcOrd="0" destOrd="0" presId="urn:microsoft.com/office/officeart/2008/layout/LinedList"/>
    <dgm:cxn modelId="{FBF3167F-8D07-BC41-AC5E-777964BA70BE}" type="presParOf" srcId="{053FF9E9-1282-3242-A25B-A2D54AA33CB3}" destId="{6966C910-029C-EF43-832B-B7F3E8D89531}" srcOrd="1" destOrd="0" presId="urn:microsoft.com/office/officeart/2008/layout/LinedList"/>
    <dgm:cxn modelId="{86D214BF-380A-6444-A3AD-1DC96983F044}" type="presParOf" srcId="{6966C910-029C-EF43-832B-B7F3E8D89531}" destId="{049441E8-D039-6D44-8CE4-BC484711869B}" srcOrd="0" destOrd="0" presId="urn:microsoft.com/office/officeart/2008/layout/LinedList"/>
    <dgm:cxn modelId="{A34D6047-4A00-1540-B990-3AF1D59EAB33}" type="presParOf" srcId="{6966C910-029C-EF43-832B-B7F3E8D89531}" destId="{E8D95466-FAA0-E44D-AC34-BB02520818BB}" srcOrd="1" destOrd="0" presId="urn:microsoft.com/office/officeart/2008/layout/LinedList"/>
    <dgm:cxn modelId="{1649A214-A351-F44E-AADB-961D972A0798}" type="presParOf" srcId="{053FF9E9-1282-3242-A25B-A2D54AA33CB3}" destId="{A1942FF3-2B41-584B-AB36-EA2148528194}" srcOrd="2" destOrd="0" presId="urn:microsoft.com/office/officeart/2008/layout/LinedList"/>
    <dgm:cxn modelId="{8724FF9B-E444-A44B-9B5B-BA534EA5A350}" type="presParOf" srcId="{053FF9E9-1282-3242-A25B-A2D54AA33CB3}" destId="{817AA15C-3EFC-C049-8752-199CE86E2F6C}" srcOrd="3" destOrd="0" presId="urn:microsoft.com/office/officeart/2008/layout/LinedList"/>
    <dgm:cxn modelId="{FF5CF211-D868-3E47-A84D-245E72644DDF}" type="presParOf" srcId="{817AA15C-3EFC-C049-8752-199CE86E2F6C}" destId="{E85DEE33-DF64-CF42-838C-C7D840DC3830}" srcOrd="0" destOrd="0" presId="urn:microsoft.com/office/officeart/2008/layout/LinedList"/>
    <dgm:cxn modelId="{5179AB9E-076B-5D4E-B0B4-940E2781510F}" type="presParOf" srcId="{817AA15C-3EFC-C049-8752-199CE86E2F6C}" destId="{8700BE30-2364-2943-A920-AAA35FB7DF7D}" srcOrd="1" destOrd="0" presId="urn:microsoft.com/office/officeart/2008/layout/LinedList"/>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1D71A5-FD20-F545-9F5D-7D4C498B83EC}">
      <dsp:nvSpPr>
        <dsp:cNvPr id="0" name=""/>
        <dsp:cNvSpPr/>
      </dsp:nvSpPr>
      <dsp:spPr>
        <a:xfrm>
          <a:off x="0" y="0"/>
          <a:ext cx="544461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2D0DC994-48C6-6A4F-873D-66E35DF6160D}">
      <dsp:nvSpPr>
        <dsp:cNvPr id="0" name=""/>
        <dsp:cNvSpPr/>
      </dsp:nvSpPr>
      <dsp:spPr>
        <a:xfrm>
          <a:off x="0" y="0"/>
          <a:ext cx="1088923" cy="454995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endParaRPr lang="en-CA" sz="3600" kern="1200" dirty="0"/>
        </a:p>
      </dsp:txBody>
      <dsp:txXfrm>
        <a:off x="0" y="0"/>
        <a:ext cx="1088923" cy="4549951"/>
      </dsp:txXfrm>
    </dsp:sp>
    <dsp:sp modelId="{D15B1013-65AB-CD45-99CF-4402853A1481}">
      <dsp:nvSpPr>
        <dsp:cNvPr id="0" name=""/>
        <dsp:cNvSpPr/>
      </dsp:nvSpPr>
      <dsp:spPr>
        <a:xfrm>
          <a:off x="1170593" y="42877"/>
          <a:ext cx="4274025" cy="857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rtl="0">
            <a:lnSpc>
              <a:spcPct val="90000"/>
            </a:lnSpc>
            <a:spcBef>
              <a:spcPct val="0"/>
            </a:spcBef>
            <a:spcAft>
              <a:spcPct val="35000"/>
            </a:spcAft>
            <a:buNone/>
          </a:pPr>
          <a:r>
            <a:rPr lang="en-CA" sz="2500" kern="1200" dirty="0"/>
            <a:t>Create new return</a:t>
          </a:r>
        </a:p>
      </dsp:txBody>
      <dsp:txXfrm>
        <a:off x="1170593" y="42877"/>
        <a:ext cx="4274025" cy="857559"/>
      </dsp:txXfrm>
    </dsp:sp>
    <dsp:sp modelId="{B282F22D-4E97-6A41-8183-0319AD1BBA0B}">
      <dsp:nvSpPr>
        <dsp:cNvPr id="0" name=""/>
        <dsp:cNvSpPr/>
      </dsp:nvSpPr>
      <dsp:spPr>
        <a:xfrm>
          <a:off x="1088923" y="900437"/>
          <a:ext cx="4355695"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4CBF8DD6-C361-914B-BD3B-70BF33976812}">
      <dsp:nvSpPr>
        <dsp:cNvPr id="0" name=""/>
        <dsp:cNvSpPr/>
      </dsp:nvSpPr>
      <dsp:spPr>
        <a:xfrm>
          <a:off x="1170593" y="943315"/>
          <a:ext cx="4274025" cy="857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rtl="0">
            <a:lnSpc>
              <a:spcPct val="90000"/>
            </a:lnSpc>
            <a:spcBef>
              <a:spcPct val="0"/>
            </a:spcBef>
            <a:spcAft>
              <a:spcPct val="35000"/>
            </a:spcAft>
            <a:buNone/>
          </a:pPr>
          <a:r>
            <a:rPr lang="en-CA" sz="2500" kern="1200" dirty="0"/>
            <a:t>Enter default data (Province, Elections Canada, etc.)</a:t>
          </a:r>
        </a:p>
      </dsp:txBody>
      <dsp:txXfrm>
        <a:off x="1170593" y="943315"/>
        <a:ext cx="4274025" cy="857559"/>
      </dsp:txXfrm>
    </dsp:sp>
    <dsp:sp modelId="{93B5460F-07EF-8740-B3C5-C490190A423A}">
      <dsp:nvSpPr>
        <dsp:cNvPr id="0" name=""/>
        <dsp:cNvSpPr/>
      </dsp:nvSpPr>
      <dsp:spPr>
        <a:xfrm>
          <a:off x="1088923" y="1800874"/>
          <a:ext cx="4355695"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CF6BD5B1-BE8F-A045-897A-F72B5E3CAD43}">
      <dsp:nvSpPr>
        <dsp:cNvPr id="0" name=""/>
        <dsp:cNvSpPr/>
      </dsp:nvSpPr>
      <dsp:spPr>
        <a:xfrm>
          <a:off x="1170593" y="1843752"/>
          <a:ext cx="4274025" cy="857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rtl="0">
            <a:lnSpc>
              <a:spcPct val="90000"/>
            </a:lnSpc>
            <a:spcBef>
              <a:spcPct val="0"/>
            </a:spcBef>
            <a:spcAft>
              <a:spcPct val="35000"/>
            </a:spcAft>
            <a:buNone/>
          </a:pPr>
          <a:r>
            <a:rPr lang="en-CA" sz="2500" kern="1200" dirty="0"/>
            <a:t>Open default forms (T4, T5, etc.)</a:t>
          </a:r>
        </a:p>
      </dsp:txBody>
      <dsp:txXfrm>
        <a:off x="1170593" y="1843752"/>
        <a:ext cx="4274025" cy="857559"/>
      </dsp:txXfrm>
    </dsp:sp>
    <dsp:sp modelId="{AB7F71FE-D0D8-DB4E-9183-A453CD24181D}">
      <dsp:nvSpPr>
        <dsp:cNvPr id="0" name=""/>
        <dsp:cNvSpPr/>
      </dsp:nvSpPr>
      <dsp:spPr>
        <a:xfrm>
          <a:off x="1088923" y="2701311"/>
          <a:ext cx="4355695"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7F586AF6-99ED-7F4F-9F54-0AA5D025C819}">
      <dsp:nvSpPr>
        <dsp:cNvPr id="0" name=""/>
        <dsp:cNvSpPr/>
      </dsp:nvSpPr>
      <dsp:spPr>
        <a:xfrm>
          <a:off x="1170593" y="2744189"/>
          <a:ext cx="4274025" cy="857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rtl="0">
            <a:lnSpc>
              <a:spcPct val="90000"/>
            </a:lnSpc>
            <a:spcBef>
              <a:spcPct val="0"/>
            </a:spcBef>
            <a:spcAft>
              <a:spcPct val="35000"/>
            </a:spcAft>
            <a:buNone/>
          </a:pPr>
          <a:r>
            <a:rPr lang="en-CA" sz="2500" kern="1200" dirty="0"/>
            <a:t>Save file</a:t>
          </a:r>
        </a:p>
      </dsp:txBody>
      <dsp:txXfrm>
        <a:off x="1170593" y="2744189"/>
        <a:ext cx="4274025" cy="857559"/>
      </dsp:txXfrm>
    </dsp:sp>
    <dsp:sp modelId="{0D05E7CA-4690-3746-80EC-339E36AA23C6}">
      <dsp:nvSpPr>
        <dsp:cNvPr id="0" name=""/>
        <dsp:cNvSpPr/>
      </dsp:nvSpPr>
      <dsp:spPr>
        <a:xfrm>
          <a:off x="1088923" y="3601748"/>
          <a:ext cx="4355695"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8E841FFD-4AB9-5845-8845-2EE321CDF61F}">
      <dsp:nvSpPr>
        <dsp:cNvPr id="0" name=""/>
        <dsp:cNvSpPr/>
      </dsp:nvSpPr>
      <dsp:spPr>
        <a:xfrm>
          <a:off x="1170593" y="3644626"/>
          <a:ext cx="4274025" cy="85755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marL="0" lvl="0" indent="0" algn="l" defTabSz="1111250" rtl="0">
            <a:lnSpc>
              <a:spcPct val="90000"/>
            </a:lnSpc>
            <a:spcBef>
              <a:spcPct val="0"/>
            </a:spcBef>
            <a:spcAft>
              <a:spcPct val="35000"/>
            </a:spcAft>
            <a:buNone/>
          </a:pPr>
          <a:r>
            <a:rPr lang="en-CA" sz="2500" kern="1200" dirty="0"/>
            <a:t>Enter file name in Module &gt; Templates</a:t>
          </a:r>
        </a:p>
      </dsp:txBody>
      <dsp:txXfrm>
        <a:off x="1170593" y="3644626"/>
        <a:ext cx="4274025" cy="857559"/>
      </dsp:txXfrm>
    </dsp:sp>
    <dsp:sp modelId="{4DC9BEA0-D9C0-C243-97A0-EB78FCCDBA87}">
      <dsp:nvSpPr>
        <dsp:cNvPr id="0" name=""/>
        <dsp:cNvSpPr/>
      </dsp:nvSpPr>
      <dsp:spPr>
        <a:xfrm>
          <a:off x="1088923" y="4502185"/>
          <a:ext cx="4355695"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E4ECE7A-09FA-3543-A84D-24E154AE6DEC}">
      <dsp:nvSpPr>
        <dsp:cNvPr id="0" name=""/>
        <dsp:cNvSpPr/>
      </dsp:nvSpPr>
      <dsp:spPr>
        <a:xfrm>
          <a:off x="0" y="0"/>
          <a:ext cx="5713414"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D2AD1FD5-06B2-504A-888C-E3815F1F81F2}">
      <dsp:nvSpPr>
        <dsp:cNvPr id="0" name=""/>
        <dsp:cNvSpPr/>
      </dsp:nvSpPr>
      <dsp:spPr>
        <a:xfrm>
          <a:off x="0" y="0"/>
          <a:ext cx="1142682" cy="44926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endParaRPr lang="en-CA" sz="2800" kern="1200" dirty="0"/>
        </a:p>
      </dsp:txBody>
      <dsp:txXfrm>
        <a:off x="0" y="0"/>
        <a:ext cx="1142682" cy="4492644"/>
      </dsp:txXfrm>
    </dsp:sp>
    <dsp:sp modelId="{BD462816-AAA9-8246-8FC5-9361542DE211}">
      <dsp:nvSpPr>
        <dsp:cNvPr id="0" name=""/>
        <dsp:cNvSpPr/>
      </dsp:nvSpPr>
      <dsp:spPr>
        <a:xfrm>
          <a:off x="1228384" y="52812"/>
          <a:ext cx="4485029" cy="105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rtl="0">
            <a:lnSpc>
              <a:spcPct val="90000"/>
            </a:lnSpc>
            <a:spcBef>
              <a:spcPct val="0"/>
            </a:spcBef>
            <a:spcAft>
              <a:spcPct val="35000"/>
            </a:spcAft>
            <a:buNone/>
          </a:pPr>
          <a:r>
            <a:rPr lang="en-CA" sz="3100" kern="1200" dirty="0"/>
            <a:t>F4 &gt; T1Pad</a:t>
          </a:r>
        </a:p>
      </dsp:txBody>
      <dsp:txXfrm>
        <a:off x="1228384" y="52812"/>
        <a:ext cx="4485029" cy="1056253"/>
      </dsp:txXfrm>
    </dsp:sp>
    <dsp:sp modelId="{4CF3B448-73CA-9B46-89DA-B6C216119C01}">
      <dsp:nvSpPr>
        <dsp:cNvPr id="0" name=""/>
        <dsp:cNvSpPr/>
      </dsp:nvSpPr>
      <dsp:spPr>
        <a:xfrm>
          <a:off x="1142682" y="1109066"/>
          <a:ext cx="457073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01115E9C-E0FD-DC47-A84D-3220A94AB4C3}">
      <dsp:nvSpPr>
        <dsp:cNvPr id="0" name=""/>
        <dsp:cNvSpPr/>
      </dsp:nvSpPr>
      <dsp:spPr>
        <a:xfrm>
          <a:off x="1228384" y="1161879"/>
          <a:ext cx="4485029" cy="105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rtl="0">
            <a:lnSpc>
              <a:spcPct val="90000"/>
            </a:lnSpc>
            <a:spcBef>
              <a:spcPct val="0"/>
            </a:spcBef>
            <a:spcAft>
              <a:spcPct val="35000"/>
            </a:spcAft>
            <a:buNone/>
          </a:pPr>
          <a:r>
            <a:rPr lang="en-CA" sz="3100" kern="1200" dirty="0"/>
            <a:t>Select &gt; Yes</a:t>
          </a:r>
        </a:p>
      </dsp:txBody>
      <dsp:txXfrm>
        <a:off x="1228384" y="1161879"/>
        <a:ext cx="4485029" cy="1056253"/>
      </dsp:txXfrm>
    </dsp:sp>
    <dsp:sp modelId="{952ED1D9-F156-A345-968E-D74CE5FFAA35}">
      <dsp:nvSpPr>
        <dsp:cNvPr id="0" name=""/>
        <dsp:cNvSpPr/>
      </dsp:nvSpPr>
      <dsp:spPr>
        <a:xfrm>
          <a:off x="1142682" y="2218133"/>
          <a:ext cx="457073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E183A497-6093-5D41-A966-E92BD9E0C6C5}">
      <dsp:nvSpPr>
        <dsp:cNvPr id="0" name=""/>
        <dsp:cNvSpPr/>
      </dsp:nvSpPr>
      <dsp:spPr>
        <a:xfrm>
          <a:off x="1228384" y="2270945"/>
          <a:ext cx="4485029" cy="105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rtl="0">
            <a:lnSpc>
              <a:spcPct val="90000"/>
            </a:lnSpc>
            <a:spcBef>
              <a:spcPct val="0"/>
            </a:spcBef>
            <a:spcAft>
              <a:spcPct val="35000"/>
            </a:spcAft>
            <a:buNone/>
          </a:pPr>
          <a:r>
            <a:rPr lang="en-CA" sz="3100" kern="1200" dirty="0"/>
            <a:t>Click </a:t>
          </a:r>
          <a:r>
            <a:rPr lang="en-CA" sz="3100" i="1" kern="1200" dirty="0"/>
            <a:t>Pay in Full</a:t>
          </a:r>
        </a:p>
      </dsp:txBody>
      <dsp:txXfrm>
        <a:off x="1228384" y="2270945"/>
        <a:ext cx="4485029" cy="1056253"/>
      </dsp:txXfrm>
    </dsp:sp>
    <dsp:sp modelId="{2D65A4A8-87F2-B94A-A7CE-D2D0D4D185CF}">
      <dsp:nvSpPr>
        <dsp:cNvPr id="0" name=""/>
        <dsp:cNvSpPr/>
      </dsp:nvSpPr>
      <dsp:spPr>
        <a:xfrm>
          <a:off x="1142682" y="3327199"/>
          <a:ext cx="457073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 modelId="{43E3B672-7717-BF4F-AECB-A227D4B335C6}">
      <dsp:nvSpPr>
        <dsp:cNvPr id="0" name=""/>
        <dsp:cNvSpPr/>
      </dsp:nvSpPr>
      <dsp:spPr>
        <a:xfrm>
          <a:off x="1228384" y="3380012"/>
          <a:ext cx="4485029" cy="10562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rtl="0">
            <a:lnSpc>
              <a:spcPct val="90000"/>
            </a:lnSpc>
            <a:spcBef>
              <a:spcPct val="0"/>
            </a:spcBef>
            <a:spcAft>
              <a:spcPct val="35000"/>
            </a:spcAft>
            <a:buNone/>
          </a:pPr>
          <a:r>
            <a:rPr lang="en-CA" sz="3100" i="0" kern="1200" dirty="0"/>
            <a:t>Go to </a:t>
          </a:r>
          <a:r>
            <a:rPr lang="en-CA" sz="3100" i="1" kern="1200" dirty="0"/>
            <a:t>EFILE &gt; EFILE PreAuthorized Debit</a:t>
          </a:r>
          <a:endParaRPr lang="en-CA" sz="3100" i="0" kern="1200" dirty="0"/>
        </a:p>
      </dsp:txBody>
      <dsp:txXfrm>
        <a:off x="1228384" y="3380012"/>
        <a:ext cx="4485029" cy="1056253"/>
      </dsp:txXfrm>
    </dsp:sp>
    <dsp:sp modelId="{CDAFD84B-0CF5-4148-8BA0-86FBC2D58782}">
      <dsp:nvSpPr>
        <dsp:cNvPr id="0" name=""/>
        <dsp:cNvSpPr/>
      </dsp:nvSpPr>
      <dsp:spPr>
        <a:xfrm>
          <a:off x="1142682" y="4436266"/>
          <a:ext cx="457073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tint val="50000"/>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13</a:t>
          </a:r>
        </a:p>
      </dsp:txBody>
      <dsp:txXfrm>
        <a:off x="179383" y="198196"/>
        <a:ext cx="866141" cy="86614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9CEB3F-75E3-DF45-9F1A-57EABC27C41B}">
      <dsp:nvSpPr>
        <dsp:cNvPr id="0" name=""/>
        <dsp:cNvSpPr/>
      </dsp:nvSpPr>
      <dsp:spPr>
        <a:xfrm>
          <a:off x="0" y="0"/>
          <a:ext cx="2667001"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990FAA21-2BE9-5B40-A872-9B797173A544}">
      <dsp:nvSpPr>
        <dsp:cNvPr id="0" name=""/>
        <dsp:cNvSpPr/>
      </dsp:nvSpPr>
      <dsp:spPr>
        <a:xfrm>
          <a:off x="0" y="0"/>
          <a:ext cx="2667001" cy="3505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0" lvl="0" indent="0" algn="l" defTabSz="1244600" rtl="0">
            <a:lnSpc>
              <a:spcPct val="90000"/>
            </a:lnSpc>
            <a:spcBef>
              <a:spcPct val="0"/>
            </a:spcBef>
            <a:spcAft>
              <a:spcPct val="35000"/>
            </a:spcAft>
            <a:buNone/>
          </a:pPr>
          <a:r>
            <a:rPr lang="en-CA" sz="2800" kern="1200" dirty="0"/>
            <a:t>Express Notice of Assessment</a:t>
          </a:r>
        </a:p>
      </dsp:txBody>
      <dsp:txXfrm>
        <a:off x="0" y="0"/>
        <a:ext cx="2667001" cy="35052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14</a:t>
          </a:r>
        </a:p>
      </dsp:txBody>
      <dsp:txXfrm>
        <a:off x="179383" y="198196"/>
        <a:ext cx="866141" cy="8661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5</a:t>
          </a:r>
        </a:p>
      </dsp:txBody>
      <dsp:txXfrm>
        <a:off x="179383" y="198196"/>
        <a:ext cx="866141" cy="8661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ED5772-130F-804B-ABDF-0431B2285CAB}">
      <dsp:nvSpPr>
        <dsp:cNvPr id="0" name=""/>
        <dsp:cNvSpPr/>
      </dsp:nvSpPr>
      <dsp:spPr>
        <a:xfrm>
          <a:off x="0" y="0"/>
          <a:ext cx="2822575"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99E26A-56A0-7C4E-A1FE-6B51D7DD4063}">
      <dsp:nvSpPr>
        <dsp:cNvPr id="0" name=""/>
        <dsp:cNvSpPr/>
      </dsp:nvSpPr>
      <dsp:spPr>
        <a:xfrm>
          <a:off x="0" y="0"/>
          <a:ext cx="2822575" cy="575468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CA" sz="3200" kern="1200" dirty="0"/>
            <a:t>a convenient way to attach source documents to a tax file</a:t>
          </a:r>
          <a:endParaRPr lang="en-US" sz="3200" kern="1200" dirty="0"/>
        </a:p>
      </dsp:txBody>
      <dsp:txXfrm>
        <a:off x="0" y="0"/>
        <a:ext cx="2822575" cy="57546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7</a:t>
          </a:r>
        </a:p>
      </dsp:txBody>
      <dsp:txXfrm>
        <a:off x="179383" y="198196"/>
        <a:ext cx="866141" cy="86614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61FEA80-B444-B049-AB95-64ED834DF4D0}">
      <dsp:nvSpPr>
        <dsp:cNvPr id="0" name=""/>
        <dsp:cNvSpPr/>
      </dsp:nvSpPr>
      <dsp:spPr>
        <a:xfrm>
          <a:off x="0" y="1863"/>
          <a:ext cx="3200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5754183A-B017-F44D-A51C-8FDA14AF5DD7}">
      <dsp:nvSpPr>
        <dsp:cNvPr id="0" name=""/>
        <dsp:cNvSpPr/>
      </dsp:nvSpPr>
      <dsp:spPr>
        <a:xfrm>
          <a:off x="0" y="1863"/>
          <a:ext cx="3200400" cy="12708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US" sz="3600" kern="1200" dirty="0"/>
            <a:t>HyperDocs management</a:t>
          </a:r>
        </a:p>
      </dsp:txBody>
      <dsp:txXfrm>
        <a:off x="0" y="1863"/>
        <a:ext cx="3200400" cy="1270874"/>
      </dsp:txXfrm>
    </dsp:sp>
    <dsp:sp modelId="{A12882AD-60F4-2444-B2A7-5AADC987F242}">
      <dsp:nvSpPr>
        <dsp:cNvPr id="0" name=""/>
        <dsp:cNvSpPr/>
      </dsp:nvSpPr>
      <dsp:spPr>
        <a:xfrm>
          <a:off x="0" y="1272737"/>
          <a:ext cx="3200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18600949-D443-E34D-9ECC-FB898DBD8CF4}">
      <dsp:nvSpPr>
        <dsp:cNvPr id="0" name=""/>
        <dsp:cNvSpPr/>
      </dsp:nvSpPr>
      <dsp:spPr>
        <a:xfrm>
          <a:off x="0" y="1272737"/>
          <a:ext cx="3200400" cy="12708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US" sz="3600" kern="1200" dirty="0"/>
            <a:t>Removing documents</a:t>
          </a:r>
        </a:p>
      </dsp:txBody>
      <dsp:txXfrm>
        <a:off x="0" y="1272737"/>
        <a:ext cx="3200400" cy="1270874"/>
      </dsp:txXfrm>
    </dsp:sp>
    <dsp:sp modelId="{CA3B98A3-218C-D641-8C96-EDFF2F7CE6EE}">
      <dsp:nvSpPr>
        <dsp:cNvPr id="0" name=""/>
        <dsp:cNvSpPr/>
      </dsp:nvSpPr>
      <dsp:spPr>
        <a:xfrm>
          <a:off x="0" y="2543612"/>
          <a:ext cx="3200400"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4D3C26B4-4F98-9D4E-9090-F3AF069E4A4B}">
      <dsp:nvSpPr>
        <dsp:cNvPr id="0" name=""/>
        <dsp:cNvSpPr/>
      </dsp:nvSpPr>
      <dsp:spPr>
        <a:xfrm>
          <a:off x="0" y="2543612"/>
          <a:ext cx="3200400" cy="12708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None/>
          </a:pPr>
          <a:r>
            <a:rPr lang="en-US" sz="3600" kern="1200" dirty="0"/>
            <a:t>Synchronizing</a:t>
          </a:r>
        </a:p>
      </dsp:txBody>
      <dsp:txXfrm>
        <a:off x="0" y="2543612"/>
        <a:ext cx="3200400" cy="127087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1"/>
              </a:solidFill>
            </a:rPr>
            <a:t>Page 8</a:t>
          </a:r>
        </a:p>
      </dsp:txBody>
      <dsp:txXfrm>
        <a:off x="179383" y="198196"/>
        <a:ext cx="866141" cy="86614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5C611-4A57-4D32-BF4D-AD972F42154B}">
      <dsp:nvSpPr>
        <dsp:cNvPr id="0" name=""/>
        <dsp:cNvSpPr/>
      </dsp:nvSpPr>
      <dsp:spPr>
        <a:xfrm>
          <a:off x="0" y="18813"/>
          <a:ext cx="1224907" cy="12249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155700">
            <a:lnSpc>
              <a:spcPct val="90000"/>
            </a:lnSpc>
            <a:spcBef>
              <a:spcPct val="0"/>
            </a:spcBef>
            <a:spcAft>
              <a:spcPct val="35000"/>
            </a:spcAft>
            <a:buNone/>
          </a:pPr>
          <a:r>
            <a:rPr lang="en-US" sz="2600" b="1" kern="1200" dirty="0">
              <a:solidFill>
                <a:schemeClr val="bg1"/>
              </a:solidFill>
            </a:rPr>
            <a:t>Page 10-13</a:t>
          </a:r>
        </a:p>
      </dsp:txBody>
      <dsp:txXfrm>
        <a:off x="179383" y="198196"/>
        <a:ext cx="866141" cy="86614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56102-04AC-9146-9DE9-91963ABA5E87}">
      <dsp:nvSpPr>
        <dsp:cNvPr id="0" name=""/>
        <dsp:cNvSpPr/>
      </dsp:nvSpPr>
      <dsp:spPr>
        <a:xfrm>
          <a:off x="0" y="0"/>
          <a:ext cx="341182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049441E8-D039-6D44-8CE4-BC484711869B}">
      <dsp:nvSpPr>
        <dsp:cNvPr id="0" name=""/>
        <dsp:cNvSpPr/>
      </dsp:nvSpPr>
      <dsp:spPr>
        <a:xfrm>
          <a:off x="0" y="0"/>
          <a:ext cx="3411829" cy="18510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5740" tIns="205740" rIns="205740" bIns="205740" numCol="1" spcCol="1270" anchor="t" anchorCtr="0">
          <a:noAutofit/>
        </a:bodyPr>
        <a:lstStyle/>
        <a:p>
          <a:pPr marL="0" lvl="0" indent="0" algn="l" defTabSz="2400300" rtl="0">
            <a:lnSpc>
              <a:spcPct val="90000"/>
            </a:lnSpc>
            <a:spcBef>
              <a:spcPct val="0"/>
            </a:spcBef>
            <a:spcAft>
              <a:spcPct val="35000"/>
            </a:spcAft>
            <a:buNone/>
          </a:pPr>
          <a:r>
            <a:rPr lang="en-US" sz="5400" kern="1200" dirty="0"/>
            <a:t>snapshot</a:t>
          </a:r>
        </a:p>
      </dsp:txBody>
      <dsp:txXfrm>
        <a:off x="0" y="0"/>
        <a:ext cx="3411829" cy="1851073"/>
      </dsp:txXfrm>
    </dsp:sp>
    <dsp:sp modelId="{A1942FF3-2B41-584B-AB36-EA2148528194}">
      <dsp:nvSpPr>
        <dsp:cNvPr id="0" name=""/>
        <dsp:cNvSpPr/>
      </dsp:nvSpPr>
      <dsp:spPr>
        <a:xfrm>
          <a:off x="0" y="1851073"/>
          <a:ext cx="3411829" cy="0"/>
        </a:xfrm>
        <a:prstGeom prst="lin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w="9525" cap="flat" cmpd="sng" algn="ctr">
          <a:solidFill>
            <a:schemeClr val="accent1">
              <a:hueOff val="0"/>
              <a:satOff val="0"/>
              <a:lumOff val="0"/>
              <a:alphaOff val="0"/>
            </a:schemeClr>
          </a:solidFill>
          <a:prstDash val="solid"/>
        </a:ln>
        <a:effectLst>
          <a:outerShdw blurRad="40000" dist="20000" dir="5400000" rotWithShape="0">
            <a:srgbClr val="000000">
              <a:alpha val="38000"/>
            </a:srgbClr>
          </a:outerShdw>
        </a:effectLst>
      </dsp:spPr>
      <dsp:style>
        <a:lnRef idx="1">
          <a:scrgbClr r="0" g="0" b="0"/>
        </a:lnRef>
        <a:fillRef idx="2">
          <a:scrgbClr r="0" g="0" b="0"/>
        </a:fillRef>
        <a:effectRef idx="1">
          <a:scrgbClr r="0" g="0" b="0"/>
        </a:effectRef>
        <a:fontRef idx="minor">
          <a:schemeClr val="dk1"/>
        </a:fontRef>
      </dsp:style>
    </dsp:sp>
    <dsp:sp modelId="{E85DEE33-DF64-CF42-838C-C7D840DC3830}">
      <dsp:nvSpPr>
        <dsp:cNvPr id="0" name=""/>
        <dsp:cNvSpPr/>
      </dsp:nvSpPr>
      <dsp:spPr>
        <a:xfrm>
          <a:off x="0" y="1851073"/>
          <a:ext cx="3411829" cy="185107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5740" tIns="205740" rIns="205740" bIns="205740" numCol="1" spcCol="1270" anchor="t" anchorCtr="0">
          <a:noAutofit/>
        </a:bodyPr>
        <a:lstStyle/>
        <a:p>
          <a:pPr marL="0" lvl="0" indent="0" algn="l" defTabSz="2400300" rtl="0">
            <a:lnSpc>
              <a:spcPct val="90000"/>
            </a:lnSpc>
            <a:spcBef>
              <a:spcPct val="0"/>
            </a:spcBef>
            <a:spcAft>
              <a:spcPct val="35000"/>
            </a:spcAft>
            <a:buNone/>
          </a:pPr>
          <a:r>
            <a:rPr lang="en-US" sz="5400" kern="1200" dirty="0"/>
            <a:t>prior-year variance</a:t>
          </a:r>
        </a:p>
      </dsp:txBody>
      <dsp:txXfrm>
        <a:off x="0" y="1851073"/>
        <a:ext cx="3411829" cy="1851073"/>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3.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20-12-13</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2/13/20</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Express Notice of Assessment starts on page14</a:t>
            </a:r>
          </a:p>
          <a:p>
            <a:endParaRPr lang="en-CA" baseline="0" dirty="0"/>
          </a:p>
          <a:p>
            <a:r>
              <a:rPr lang="en-CA" sz="1200" kern="1200" dirty="0">
                <a:solidFill>
                  <a:schemeClr val="tx1"/>
                </a:solidFill>
                <a:effectLst/>
                <a:latin typeface="+mn-lt"/>
                <a:ea typeface="+mn-ea"/>
                <a:cs typeface="+mn-cs"/>
              </a:rPr>
              <a:t>Express Notice of Assessment (NOA) is a CRA service that allows you to view the basic result of an assessment immediately after filing a return and to receive the full notice of assessment the next day.</a:t>
            </a:r>
          </a:p>
          <a:p>
            <a:r>
              <a:rPr lang="en-CA" sz="1200" kern="1200" dirty="0">
                <a:solidFill>
                  <a:schemeClr val="tx1"/>
                </a:solidFill>
                <a:effectLst/>
                <a:latin typeface="+mn-lt"/>
                <a:ea typeface="+mn-ea"/>
                <a:cs typeface="+mn-cs"/>
              </a:rPr>
              <a:t>This instant assessment provides the status of your client’s return with a summary of the refund, amount owing, or a zero balance and deposit information, if applicable.</a:t>
            </a:r>
          </a:p>
          <a:p>
            <a:r>
              <a:rPr lang="en-CA" sz="1200" kern="1200" dirty="0">
                <a:solidFill>
                  <a:schemeClr val="tx1"/>
                </a:solidFill>
                <a:effectLst/>
                <a:latin typeface="+mn-lt"/>
                <a:ea typeface="+mn-ea"/>
                <a:cs typeface="+mn-cs"/>
              </a:rPr>
              <a:t>The full notice of assessment provides an account summary with the result of the assessed return showing a refund, a zero balance, or a balance owing, tax assessment summary, explanation of changes and other information, and RRSP/PRPP deduction limit statement. It may also contain the Home Buyers' Plan statement and Lifelong Learning Plan statement.</a:t>
            </a:r>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33294206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troduce the template discussion on Page 5</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CA" sz="1200" kern="1200" dirty="0">
                <a:solidFill>
                  <a:schemeClr val="tx1"/>
                </a:solidFill>
                <a:effectLst/>
                <a:latin typeface="+mn-lt"/>
                <a:ea typeface="+mn-ea"/>
                <a:cs typeface="+mn-cs"/>
              </a:rPr>
              <a:t>If you find that you are constantly checking the same boxes on </a:t>
            </a:r>
            <a:r>
              <a:rPr lang="en-CA" sz="1200" kern="1200" dirty="0" err="1">
                <a:solidFill>
                  <a:schemeClr val="tx1"/>
                </a:solidFill>
                <a:effectLst/>
                <a:latin typeface="+mn-lt"/>
                <a:ea typeface="+mn-ea"/>
                <a:cs typeface="+mn-cs"/>
              </a:rPr>
              <a:t>ProFile’s</a:t>
            </a:r>
            <a:r>
              <a:rPr lang="en-CA" sz="1200" kern="1200" dirty="0">
                <a:solidFill>
                  <a:schemeClr val="tx1"/>
                </a:solidFill>
                <a:effectLst/>
                <a:latin typeface="+mn-lt"/>
                <a:ea typeface="+mn-ea"/>
                <a:cs typeface="+mn-cs"/>
              </a:rPr>
              <a:t> Info page (for example, the Elections Canada question), or if you find that most of your clients live in the same city or province, you can setup a file template that automatically fills in certain fields with a uniform set of data. This capability is called a file template and, once you’ve set it up, Profile automatically fills in the fields of any new tax as specified in that template.</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In addition to pre-filling fields that you specified in the template, you can also set the forms (and the sequence of forms) you want ProFile to open when you first create a new file. You can create a separate file template for each ProFile module. </a:t>
            </a:r>
            <a:endParaRPr lang="en-US" sz="1200" kern="1200" dirty="0">
              <a:solidFill>
                <a:schemeClr val="tx1"/>
              </a:solidFill>
              <a:effectLst/>
              <a:latin typeface="+mn-lt"/>
              <a:ea typeface="+mn-ea"/>
              <a:cs typeface="+mn-cs"/>
            </a:endParaRPr>
          </a:p>
          <a:p>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8928424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tailed steps start at </a:t>
            </a:r>
            <a:r>
              <a:rPr lang="en-US" baseline="0" dirty="0" err="1"/>
              <a:t>Pg</a:t>
            </a:r>
            <a:r>
              <a:rPr lang="en-US" baseline="0" dirty="0"/>
              <a:t> 5</a:t>
            </a:r>
          </a:p>
          <a:p>
            <a:endParaRPr lang="en-US" baseline="0" dirty="0"/>
          </a:p>
          <a:p>
            <a:pPr marL="171450" indent="-171450">
              <a:buFontTx/>
              <a:buChar char="-"/>
            </a:pPr>
            <a:r>
              <a:rPr lang="en-US" baseline="0" dirty="0"/>
              <a:t>Open existing return and Save As</a:t>
            </a:r>
          </a:p>
          <a:p>
            <a:pPr marL="171450" indent="-171450">
              <a:buFontTx/>
              <a:buChar char="-"/>
            </a:pPr>
            <a:r>
              <a:rPr lang="en-US" baseline="0" dirty="0"/>
              <a:t>Make changes to tax file as required</a:t>
            </a:r>
          </a:p>
          <a:p>
            <a:pPr marL="171450" indent="-171450">
              <a:buFontTx/>
              <a:buChar char="-"/>
            </a:pPr>
            <a:r>
              <a:rPr lang="en-US" baseline="0" dirty="0"/>
              <a:t>Open </a:t>
            </a:r>
            <a:r>
              <a:rPr lang="en-US" baseline="0" dirty="0" err="1"/>
              <a:t>ReFile</a:t>
            </a:r>
            <a:r>
              <a:rPr lang="en-US" baseline="0" dirty="0"/>
              <a:t> Form (F4 &gt; T1Refile) </a:t>
            </a:r>
          </a:p>
          <a:p>
            <a:pPr marL="171450" indent="-171450">
              <a:buFontTx/>
              <a:buChar char="-"/>
            </a:pPr>
            <a:r>
              <a:rPr lang="en-US" baseline="0" dirty="0"/>
              <a:t>Ensure SIN is indicated</a:t>
            </a:r>
          </a:p>
          <a:p>
            <a:pPr marL="171450" indent="-171450">
              <a:buFontTx/>
              <a:buChar char="-"/>
            </a:pPr>
            <a:r>
              <a:rPr lang="en-US" baseline="0" dirty="0"/>
              <a:t>Enter current date in date field</a:t>
            </a:r>
          </a:p>
          <a:p>
            <a:pPr marL="171450" indent="-171450">
              <a:buFontTx/>
              <a:buChar char="-"/>
            </a:pPr>
            <a:r>
              <a:rPr lang="en-US" baseline="0" dirty="0"/>
              <a:t>Check the Box to indicate Amended Return</a:t>
            </a:r>
          </a:p>
          <a:p>
            <a:pPr marL="171450" indent="-171450">
              <a:buFontTx/>
              <a:buChar char="-"/>
            </a:pPr>
            <a:r>
              <a:rPr lang="en-US" baseline="0" dirty="0"/>
              <a:t>Go through form questions at bottom of Page</a:t>
            </a:r>
          </a:p>
          <a:p>
            <a:pPr marL="171450" indent="-171450">
              <a:buFontTx/>
              <a:buChar char="-"/>
            </a:pPr>
            <a:r>
              <a:rPr lang="en-US" baseline="0" dirty="0"/>
              <a:t>Open T183 </a:t>
            </a:r>
          </a:p>
          <a:p>
            <a:pPr marL="171450" indent="-171450">
              <a:buFontTx/>
              <a:buChar char="-"/>
            </a:pPr>
            <a:r>
              <a:rPr lang="en-US" baseline="0" dirty="0"/>
              <a:t>Notice the R net to the tax year at top right</a:t>
            </a:r>
          </a:p>
          <a:p>
            <a:pPr marL="171450" indent="-171450">
              <a:buFontTx/>
              <a:buChar char="-"/>
            </a:pPr>
            <a:r>
              <a:rPr lang="en-US" baseline="0" dirty="0"/>
              <a:t>Check the “Want to REFILE like you EFILE) Box </a:t>
            </a:r>
          </a:p>
          <a:p>
            <a:pPr marL="171450" indent="-171450">
              <a:buFontTx/>
              <a:buChar char="-"/>
            </a:pPr>
            <a:r>
              <a:rPr lang="en-US" baseline="0" dirty="0"/>
              <a:t>OBTAIN SIGNATURE ON THE NEW T183 </a:t>
            </a:r>
          </a:p>
          <a:p>
            <a:pPr marL="171450" indent="-171450">
              <a:buFontTx/>
              <a:buChar char="-"/>
            </a:pPr>
            <a:r>
              <a:rPr lang="en-US" baseline="0" dirty="0"/>
              <a:t>Go to INFO Page and Point to REFILE confirmation</a:t>
            </a:r>
          </a:p>
          <a:p>
            <a:pPr marL="171450" indent="-171450">
              <a:buFontTx/>
              <a:buChar char="-"/>
            </a:pP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3190231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Introduce the </a:t>
            </a:r>
            <a:r>
              <a:rPr lang="en-US" baseline="0" dirty="0" err="1"/>
              <a:t>HypeDocs</a:t>
            </a:r>
            <a:r>
              <a:rPr lang="en-US" baseline="0" dirty="0"/>
              <a:t> on Page 7</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r>
              <a:rPr lang="en-US" sz="1200" kern="1200" dirty="0">
                <a:solidFill>
                  <a:schemeClr val="tx1"/>
                </a:solidFill>
                <a:effectLst/>
                <a:latin typeface="+mn-lt"/>
                <a:ea typeface="+mn-ea"/>
                <a:cs typeface="+mn-cs"/>
              </a:rPr>
              <a:t>It may happen that you’d like to attach or link an electronic document to a tax file. You may, for example, want to attach a PDF of a CRA document such as a tax ruling or an interpretation bulletin. Or you may want to link to an image file itemizing details of charitable donations or medical receipts.  With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HyperDocs, you can do exactly that. In other words, you can attach multiple documents, in any format, to a form or field of a T1 return.</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t’s important to note that any HyperDocs document attached to a tax file will be stored for internal purposes only. This means that no HyperDocs attachment will ever get transmitted to CRA.</a:t>
            </a:r>
          </a:p>
          <a:p>
            <a:r>
              <a:rPr lang="en-US" sz="1200" kern="120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1036303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t>Refer to Page 7 and describe</a:t>
            </a:r>
            <a:r>
              <a:rPr lang="en-US" baseline="0" dirty="0"/>
              <a:t> what is HyperDocs and how you attach documents</a:t>
            </a:r>
          </a:p>
          <a:p>
            <a:pPr lvl="0"/>
            <a:endParaRPr lang="en-US" baseline="0" dirty="0"/>
          </a:p>
          <a:p>
            <a:pPr lvl="0"/>
            <a:r>
              <a:rPr lang="en-US" dirty="0"/>
              <a:t>Use</a:t>
            </a:r>
            <a:r>
              <a:rPr lang="en-US" baseline="0" dirty="0"/>
              <a:t> HyperDocs to attach a document to a line of the return or to the return as a whole.</a:t>
            </a:r>
          </a:p>
          <a:p>
            <a:pPr lvl="0"/>
            <a:endParaRPr lang="en-US" baseline="0" dirty="0"/>
          </a:p>
          <a:p>
            <a:pPr lvl="0"/>
            <a:r>
              <a:rPr lang="en-US" baseline="0" dirty="0"/>
              <a:t>Discuss the difference between Embed and Link (Page 8)</a:t>
            </a:r>
            <a:endParaRPr lang="en-US"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4602656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8 and discuss HyperDocs management</a:t>
            </a:r>
          </a:p>
          <a:p>
            <a:endParaRPr lang="en-US" baseline="0" dirty="0"/>
          </a:p>
          <a:p>
            <a:r>
              <a:rPr lang="en-US" sz="1200" kern="1200" dirty="0">
                <a:solidFill>
                  <a:schemeClr val="tx1"/>
                </a:solidFill>
                <a:effectLst/>
                <a:latin typeface="+mn-lt"/>
                <a:ea typeface="+mn-ea"/>
                <a:cs typeface="+mn-cs"/>
              </a:rPr>
              <a:t>Whether you add a HyperDocs to the tax file in general or to a specific area of the tax file, you will find all attached documents in the HyperDocs window. To view all attached documents:</a:t>
            </a:r>
          </a:p>
          <a:p>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 Go to </a:t>
            </a:r>
            <a:r>
              <a:rPr lang="en-CA" sz="1200" i="1" kern="1200" dirty="0">
                <a:solidFill>
                  <a:schemeClr val="tx1"/>
                </a:solidFill>
                <a:effectLst/>
                <a:latin typeface="+mn-lt"/>
                <a:ea typeface="+mn-ea"/>
                <a:cs typeface="+mn-cs"/>
              </a:rPr>
              <a:t>File &gt; HyperDocs</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All attached documents appear in the HyperDocs window along with any comments that you entered. The HyperDocs window also lists key information that includes:</a:t>
            </a:r>
          </a:p>
          <a:p>
            <a:pPr lvl="0"/>
            <a:r>
              <a:rPr lang="en-US" sz="1200" kern="1200" dirty="0">
                <a:solidFill>
                  <a:schemeClr val="tx1"/>
                </a:solidFill>
                <a:effectLst/>
                <a:latin typeface="+mn-lt"/>
                <a:ea typeface="+mn-ea"/>
                <a:cs typeface="+mn-cs"/>
              </a:rPr>
              <a:t>The date the document was attached and/or modified</a:t>
            </a:r>
          </a:p>
          <a:p>
            <a:pPr lvl="0"/>
            <a:r>
              <a:rPr lang="en-US" sz="1200" kern="1200" dirty="0">
                <a:solidFill>
                  <a:schemeClr val="tx1"/>
                </a:solidFill>
                <a:effectLst/>
                <a:latin typeface="+mn-lt"/>
                <a:ea typeface="+mn-ea"/>
                <a:cs typeface="+mn-cs"/>
              </a:rPr>
              <a:t>The process you chose to attach the file (linked or embedded)</a:t>
            </a:r>
          </a:p>
          <a:p>
            <a:r>
              <a:rPr lang="en-US" sz="1200" kern="1200" dirty="0">
                <a:solidFill>
                  <a:schemeClr val="tx1"/>
                </a:solidFill>
                <a:effectLst/>
                <a:latin typeface="+mn-lt"/>
                <a:ea typeface="+mn-ea"/>
                <a:cs typeface="+mn-cs"/>
              </a:rPr>
              <a:t>And the form to which the document was attached</a:t>
            </a:r>
            <a:r>
              <a:rPr lang="en-US" dirty="0">
                <a:effectLst/>
              </a:rPr>
              <a:t> </a:t>
            </a:r>
          </a:p>
          <a:p>
            <a:endParaRPr lang="en-US" baseline="0" dirty="0">
              <a:effectLst/>
            </a:endParaRPr>
          </a:p>
          <a:p>
            <a:r>
              <a:rPr lang="en-US" baseline="0" dirty="0">
                <a:effectLst/>
              </a:rPr>
              <a:t>Also discuss how to remove documents page 9</a:t>
            </a:r>
          </a:p>
          <a:p>
            <a:endParaRPr lang="en-US" baseline="0" dirty="0">
              <a:effectLst/>
            </a:endParaRPr>
          </a:p>
          <a:p>
            <a:r>
              <a:rPr lang="en-US" baseline="0" dirty="0">
                <a:effectLst/>
              </a:rPr>
              <a:t>And discuss Synchronization at Page 10</a:t>
            </a:r>
            <a:endParaRPr lang="en-US" baseline="0" dirty="0"/>
          </a:p>
        </p:txBody>
      </p:sp>
      <p:sp>
        <p:nvSpPr>
          <p:cNvPr id="4" name="Slide Number Placeholder 3"/>
          <p:cNvSpPr>
            <a:spLocks noGrp="1"/>
          </p:cNvSpPr>
          <p:nvPr>
            <p:ph type="sldNum" sz="quarter" idx="10"/>
          </p:nvPr>
        </p:nvSpPr>
        <p:spPr/>
        <p:txBody>
          <a:bodyPr/>
          <a:lstStyle/>
          <a:p>
            <a:fld id="{798D59A4-DDC9-43DD-9D1A-5A16C63BC4A0}" type="slidenum">
              <a:rPr lang="en-US" smtClean="0"/>
              <a:t>8</a:t>
            </a:fld>
            <a:endParaRPr lang="en-US"/>
          </a:p>
        </p:txBody>
      </p:sp>
    </p:spTree>
    <p:extLst>
      <p:ext uri="{BB962C8B-B14F-4D97-AF65-F5344CB8AC3E}">
        <p14:creationId xmlns:p14="http://schemas.microsoft.com/office/powerpoint/2010/main" val="4942608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0 and discuss Variance &amp; Snapshot</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Variance is a feature that you use to highlight significant changes on a tax return. Variance lets you experiment with different scenarios and quickly identify the impact of a change on many key fields. Variance is only calculated for fields with CRA line numbers. So, not all fields (for example on worksheets) will be included in the variance comparison. You activate the variance feature by taking a snapshot of the tax return.</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211261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Refer to page 10 and discuss</a:t>
            </a:r>
            <a:r>
              <a:rPr lang="mr-IN" baseline="0" dirty="0"/>
              <a:t>…</a:t>
            </a:r>
            <a:endParaRPr lang="en-CA" baseline="0" dirty="0"/>
          </a:p>
          <a:p>
            <a:r>
              <a:rPr lang="en-US" sz="1200" b="1" kern="1200" dirty="0">
                <a:solidFill>
                  <a:schemeClr val="tx1"/>
                </a:solidFill>
                <a:effectLst/>
                <a:latin typeface="+mn-lt"/>
                <a:ea typeface="+mn-ea"/>
                <a:cs typeface="+mn-cs"/>
              </a:rPr>
              <a:t>To take a snapshot of your current return</a:t>
            </a:r>
          </a:p>
          <a:p>
            <a:pPr lvl="0"/>
            <a:r>
              <a:rPr lang="en-CA" sz="1200" kern="1200" dirty="0">
                <a:solidFill>
                  <a:schemeClr val="tx1"/>
                </a:solidFill>
                <a:effectLst/>
                <a:latin typeface="+mn-lt"/>
                <a:ea typeface="+mn-ea"/>
                <a:cs typeface="+mn-cs"/>
              </a:rPr>
              <a:t>From the Audit menu, select </a:t>
            </a:r>
            <a:r>
              <a:rPr lang="en-CA" sz="1200" i="1" kern="1200" dirty="0">
                <a:solidFill>
                  <a:schemeClr val="tx1"/>
                </a:solidFill>
                <a:effectLst/>
                <a:latin typeface="+mn-lt"/>
                <a:ea typeface="+mn-ea"/>
                <a:cs typeface="+mn-cs"/>
              </a:rPr>
              <a:t>Snapshot/variance</a:t>
            </a:r>
            <a:r>
              <a:rPr lang="en-CA" sz="1200" kern="1200" dirty="0">
                <a:solidFill>
                  <a:schemeClr val="tx1"/>
                </a:solidFill>
                <a:effectLst/>
                <a:latin typeface="+mn-lt"/>
                <a:ea typeface="+mn-ea"/>
                <a:cs typeface="+mn-cs"/>
              </a:rPr>
              <a:t> and click the </a:t>
            </a:r>
            <a:r>
              <a:rPr lang="en-CA" sz="1200" i="1" kern="1200" dirty="0">
                <a:solidFill>
                  <a:schemeClr val="tx1"/>
                </a:solidFill>
                <a:effectLst/>
                <a:latin typeface="+mn-lt"/>
                <a:ea typeface="+mn-ea"/>
                <a:cs typeface="+mn-cs"/>
              </a:rPr>
              <a:t>New</a:t>
            </a:r>
            <a:r>
              <a:rPr lang="en-CA" sz="1200" kern="1200" dirty="0">
                <a:solidFill>
                  <a:schemeClr val="tx1"/>
                </a:solidFill>
                <a:effectLst/>
                <a:latin typeface="+mn-lt"/>
                <a:ea typeface="+mn-ea"/>
                <a:cs typeface="+mn-cs"/>
              </a:rPr>
              <a:t> button. This will take a picture of the current contents of the tax return</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Give the snapshot a name that will remind you of the purpose of the scenario</a:t>
            </a:r>
          </a:p>
          <a:p>
            <a:pPr lvl="0"/>
            <a:r>
              <a:rPr lang="en-US" sz="1200" kern="1200" dirty="0">
                <a:solidFill>
                  <a:schemeClr val="tx1"/>
                </a:solidFill>
                <a:effectLst/>
                <a:latin typeface="+mn-lt"/>
                <a:ea typeface="+mn-ea"/>
                <a:cs typeface="+mn-cs"/>
              </a:rPr>
              <a:t>Select the </a:t>
            </a:r>
            <a:r>
              <a:rPr lang="en-US" sz="1200" i="1" kern="1200" dirty="0">
                <a:solidFill>
                  <a:schemeClr val="tx1"/>
                </a:solidFill>
                <a:effectLst/>
                <a:latin typeface="+mn-lt"/>
                <a:ea typeface="+mn-ea"/>
                <a:cs typeface="+mn-cs"/>
              </a:rPr>
              <a:t>Activate this snapshot</a:t>
            </a:r>
            <a:r>
              <a:rPr lang="en-US" sz="1200" kern="1200" dirty="0">
                <a:solidFill>
                  <a:schemeClr val="tx1"/>
                </a:solidFill>
                <a:effectLst/>
                <a:latin typeface="+mn-lt"/>
                <a:ea typeface="+mn-ea"/>
                <a:cs typeface="+mn-cs"/>
              </a:rPr>
              <a:t> option to have ProFile compare any changes you make in the file to this snapshot and click </a:t>
            </a:r>
            <a:r>
              <a:rPr lang="en-US" sz="1200" i="1" kern="1200" dirty="0">
                <a:solidFill>
                  <a:schemeClr val="tx1"/>
                </a:solidFill>
                <a:effectLst/>
                <a:latin typeface="+mn-lt"/>
                <a:ea typeface="+mn-ea"/>
                <a:cs typeface="+mn-cs"/>
              </a:rPr>
              <a:t>OK</a:t>
            </a:r>
          </a:p>
          <a:p>
            <a:pPr lvl="0"/>
            <a:endParaRPr lang="en-US" sz="1200" i="1" kern="1200" dirty="0">
              <a:solidFill>
                <a:schemeClr val="tx1"/>
              </a:solidFill>
              <a:effectLst/>
              <a:latin typeface="+mn-lt"/>
              <a:ea typeface="+mn-ea"/>
              <a:cs typeface="+mn-cs"/>
            </a:endParaRPr>
          </a:p>
          <a:p>
            <a:pPr lvl="0"/>
            <a:r>
              <a:rPr lang="en-US" sz="1200" i="0" kern="1200" dirty="0">
                <a:solidFill>
                  <a:schemeClr val="tx1"/>
                </a:solidFill>
                <a:effectLst/>
                <a:latin typeface="+mn-lt"/>
                <a:ea typeface="+mn-ea"/>
                <a:cs typeface="+mn-cs"/>
              </a:rPr>
              <a:t>Also discuss the Variance</a:t>
            </a:r>
            <a:r>
              <a:rPr lang="en-US" sz="1200" i="0" kern="1200" baseline="0" dirty="0">
                <a:solidFill>
                  <a:schemeClr val="tx1"/>
                </a:solidFill>
                <a:effectLst/>
                <a:latin typeface="+mn-lt"/>
                <a:ea typeface="+mn-ea"/>
                <a:cs typeface="+mn-cs"/>
              </a:rPr>
              <a:t> tab on the Active Auditor </a:t>
            </a:r>
            <a:r>
              <a:rPr lang="mr-IN" sz="1200" i="0" kern="1200" baseline="0" dirty="0">
                <a:solidFill>
                  <a:schemeClr val="tx1"/>
                </a:solidFill>
                <a:effectLst/>
                <a:latin typeface="+mn-lt"/>
                <a:ea typeface="+mn-ea"/>
                <a:cs typeface="+mn-cs"/>
              </a:rPr>
              <a:t>–</a:t>
            </a:r>
            <a:r>
              <a:rPr lang="en-US" sz="1200" i="0" kern="1200" baseline="0" dirty="0">
                <a:solidFill>
                  <a:schemeClr val="tx1"/>
                </a:solidFill>
                <a:effectLst/>
                <a:latin typeface="+mn-lt"/>
                <a:ea typeface="+mn-ea"/>
                <a:cs typeface="+mn-cs"/>
              </a:rPr>
              <a:t> Page 11</a:t>
            </a:r>
          </a:p>
          <a:p>
            <a:pPr lvl="0"/>
            <a:endParaRPr lang="en-US" sz="1200" i="0" kern="1200" baseline="0" dirty="0">
              <a:solidFill>
                <a:schemeClr val="tx1"/>
              </a:solidFill>
              <a:effectLst/>
              <a:latin typeface="+mn-lt"/>
              <a:ea typeface="+mn-ea"/>
              <a:cs typeface="+mn-cs"/>
            </a:endParaRPr>
          </a:p>
          <a:p>
            <a:pPr lvl="0"/>
            <a:r>
              <a:rPr lang="en-US" sz="1200" i="0" kern="1200" baseline="0" dirty="0">
                <a:solidFill>
                  <a:schemeClr val="tx1"/>
                </a:solidFill>
                <a:effectLst/>
                <a:latin typeface="+mn-lt"/>
                <a:ea typeface="+mn-ea"/>
                <a:cs typeface="+mn-cs"/>
              </a:rPr>
              <a:t>And discuss the prior-year variance at Page 12</a:t>
            </a:r>
          </a:p>
          <a:p>
            <a:pPr lvl="0"/>
            <a:endParaRPr lang="en-US" sz="1200" i="0" kern="1200" baseline="0" dirty="0">
              <a:solidFill>
                <a:schemeClr val="tx1"/>
              </a:solidFill>
              <a:effectLst/>
              <a:latin typeface="+mn-lt"/>
              <a:ea typeface="+mn-ea"/>
              <a:cs typeface="+mn-cs"/>
            </a:endParaRPr>
          </a:p>
          <a:p>
            <a:pPr lvl="0"/>
            <a:r>
              <a:rPr lang="en-US" sz="1200" i="0" kern="1200" baseline="0" dirty="0">
                <a:solidFill>
                  <a:schemeClr val="tx1"/>
                </a:solidFill>
                <a:effectLst/>
                <a:latin typeface="+mn-lt"/>
                <a:ea typeface="+mn-ea"/>
                <a:cs typeface="+mn-cs"/>
              </a:rPr>
              <a:t>Finally mention the Variance Threshold setting at Page 15</a:t>
            </a:r>
            <a:endParaRPr lang="en-US" sz="1200" i="0" kern="1200" dirty="0">
              <a:solidFill>
                <a:schemeClr val="tx1"/>
              </a:solidFill>
              <a:effectLst/>
              <a:latin typeface="+mn-lt"/>
              <a:ea typeface="+mn-ea"/>
              <a:cs typeface="+mn-cs"/>
            </a:endParaRPr>
          </a:p>
          <a:p>
            <a:endParaRPr lang="en-CA" baseline="0" dirty="0"/>
          </a:p>
          <a:p>
            <a:endParaRPr lang="en-CA" baseline="0" dirty="0"/>
          </a:p>
          <a:p>
            <a:endParaRPr lang="en-US" baseline="0" dirty="0"/>
          </a:p>
          <a:p>
            <a:endParaRPr lang="en-US" baseline="0" dirty="0"/>
          </a:p>
          <a:p>
            <a:endParaRPr lang="en-US" baseline="0" dirty="0"/>
          </a:p>
          <a:p>
            <a:endParaRPr lang="en-US" baseline="0" dirty="0"/>
          </a:p>
          <a:p>
            <a:endParaRPr lang="en-US" baseline="0" dirty="0"/>
          </a:p>
          <a:p>
            <a:endParaRPr lang="en-US" baseline="0" dirty="0"/>
          </a:p>
          <a:p>
            <a:endParaRPr lang="en-US" baseline="0" dirty="0"/>
          </a:p>
          <a:p>
            <a:r>
              <a:rPr lang="en-US" baseline="0" dirty="0"/>
              <a:t>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13836065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baseline="0" dirty="0"/>
          </a:p>
          <a:p>
            <a:r>
              <a:rPr lang="en-CA" baseline="0" dirty="0"/>
              <a:t>Demo T1PAD </a:t>
            </a:r>
            <a:r>
              <a:rPr lang="mr-IN" baseline="0" dirty="0"/>
              <a:t>–</a:t>
            </a:r>
            <a:r>
              <a:rPr lang="en-CA" baseline="0" dirty="0"/>
              <a:t> </a:t>
            </a:r>
            <a:r>
              <a:rPr lang="en-CA" baseline="0"/>
              <a:t>P 13</a:t>
            </a:r>
            <a:endParaRPr lang="en-CA" baseline="0" dirty="0"/>
          </a:p>
          <a:p>
            <a:endParaRPr lang="en-CA" baseline="0" dirty="0"/>
          </a:p>
          <a:p>
            <a:r>
              <a:rPr lang="en-CA" sz="1200" kern="1200" dirty="0">
                <a:solidFill>
                  <a:schemeClr val="tx1"/>
                </a:solidFill>
                <a:effectLst/>
                <a:latin typeface="+mn-lt"/>
                <a:ea typeface="+mn-ea"/>
                <a:cs typeface="+mn-cs"/>
              </a:rPr>
              <a:t>Pre-authorized debit (PAD) is a secure, online, self-service payment option for individuals and businesses. This option lets you set the payment amount you authorize CRA to withdraw from a Canadian chequing account to pay taxes on a date, or multiple dates.</a:t>
            </a:r>
            <a:endParaRPr lang="en-US" sz="1200" kern="1200" dirty="0">
              <a:solidFill>
                <a:schemeClr val="tx1"/>
              </a:solidFill>
              <a:effectLst/>
              <a:latin typeface="+mn-lt"/>
              <a:ea typeface="+mn-ea"/>
              <a:cs typeface="+mn-cs"/>
            </a:endParaRPr>
          </a:p>
          <a:p>
            <a:r>
              <a:rPr lang="en-CA" sz="1200" kern="1200" dirty="0">
                <a:solidFill>
                  <a:schemeClr val="tx1"/>
                </a:solidFill>
                <a:effectLst/>
                <a:latin typeface="+mn-lt"/>
                <a:ea typeface="+mn-ea"/>
                <a:cs typeface="+mn-cs"/>
              </a:rPr>
              <a:t>Due to the processes that must take place between the CRA and the financial institution, the selected payment date must be at least five business-days from the date your PAD agreement is created or managed.</a:t>
            </a:r>
            <a:r>
              <a:rPr lang="en-US" dirty="0">
                <a:effectLst/>
              </a:rPr>
              <a:t> </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6283905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2/13/20</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41"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Section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2"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3"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40460063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618"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5" r:id="rId11"/>
    <p:sldLayoutId id="214748381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7.xml"/><Relationship Id="rId13" Type="http://schemas.openxmlformats.org/officeDocument/2006/relationships/diagramColors" Target="../diagrams/colors8.xml"/><Relationship Id="rId18" Type="http://schemas.openxmlformats.org/officeDocument/2006/relationships/diagramColors" Target="../diagrams/colors9.xml"/><Relationship Id="rId3" Type="http://schemas.openxmlformats.org/officeDocument/2006/relationships/image" Target="../media/image12.png"/><Relationship Id="rId7" Type="http://schemas.openxmlformats.org/officeDocument/2006/relationships/diagramColors" Target="../diagrams/colors7.xml"/><Relationship Id="rId12" Type="http://schemas.openxmlformats.org/officeDocument/2006/relationships/diagramQuickStyle" Target="../diagrams/quickStyle8.xml"/><Relationship Id="rId17" Type="http://schemas.openxmlformats.org/officeDocument/2006/relationships/diagramQuickStyle" Target="../diagrams/quickStyle9.xml"/><Relationship Id="rId2" Type="http://schemas.openxmlformats.org/officeDocument/2006/relationships/notesSlide" Target="../notesSlides/notesSlide8.xml"/><Relationship Id="rId16" Type="http://schemas.openxmlformats.org/officeDocument/2006/relationships/diagramLayout" Target="../diagrams/layout9.xml"/><Relationship Id="rId1" Type="http://schemas.openxmlformats.org/officeDocument/2006/relationships/slideLayout" Target="../slideLayouts/slideLayout1.xml"/><Relationship Id="rId6" Type="http://schemas.openxmlformats.org/officeDocument/2006/relationships/diagramQuickStyle" Target="../diagrams/quickStyle7.xml"/><Relationship Id="rId11" Type="http://schemas.openxmlformats.org/officeDocument/2006/relationships/diagramLayout" Target="../diagrams/layout8.xml"/><Relationship Id="rId5" Type="http://schemas.openxmlformats.org/officeDocument/2006/relationships/diagramLayout" Target="../diagrams/layout7.xml"/><Relationship Id="rId15" Type="http://schemas.openxmlformats.org/officeDocument/2006/relationships/diagramData" Target="../diagrams/data9.xml"/><Relationship Id="rId10" Type="http://schemas.openxmlformats.org/officeDocument/2006/relationships/diagramData" Target="../diagrams/data8.xml"/><Relationship Id="rId19" Type="http://schemas.microsoft.com/office/2007/relationships/diagramDrawing" Target="../diagrams/drawing9.xml"/><Relationship Id="rId4" Type="http://schemas.openxmlformats.org/officeDocument/2006/relationships/diagramData" Target="../diagrams/data7.xml"/><Relationship Id="rId9" Type="http://schemas.openxmlformats.org/officeDocument/2006/relationships/image" Target="../media/image8.emf"/><Relationship Id="rId14" Type="http://schemas.microsoft.com/office/2007/relationships/diagramDrawing" Target="../diagrams/drawing8.xml"/></Relationships>
</file>

<file path=ppt/slides/_rels/slide11.xml.rels><?xml version="1.0" encoding="UTF-8" standalone="yes"?>
<Relationships xmlns="http://schemas.openxmlformats.org/package/2006/relationships"><Relationship Id="rId8" Type="http://schemas.microsoft.com/office/2007/relationships/diagramDrawing" Target="../diagrams/drawing10.xml"/><Relationship Id="rId13" Type="http://schemas.microsoft.com/office/2007/relationships/diagramDrawing" Target="../diagrams/drawing11.xml"/><Relationship Id="rId3" Type="http://schemas.openxmlformats.org/officeDocument/2006/relationships/image" Target="../media/image13.png"/><Relationship Id="rId7" Type="http://schemas.openxmlformats.org/officeDocument/2006/relationships/diagramColors" Target="../diagrams/colors10.xml"/><Relationship Id="rId12" Type="http://schemas.openxmlformats.org/officeDocument/2006/relationships/diagramColors" Target="../diagrams/colors11.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QuickStyle" Target="../diagrams/quickStyle10.xml"/><Relationship Id="rId11" Type="http://schemas.openxmlformats.org/officeDocument/2006/relationships/diagramQuickStyle" Target="../diagrams/quickStyle11.xml"/><Relationship Id="rId5" Type="http://schemas.openxmlformats.org/officeDocument/2006/relationships/diagramLayout" Target="../diagrams/layout10.xml"/><Relationship Id="rId10" Type="http://schemas.openxmlformats.org/officeDocument/2006/relationships/diagramLayout" Target="../diagrams/layout11.xml"/><Relationship Id="rId4" Type="http://schemas.openxmlformats.org/officeDocument/2006/relationships/diagramData" Target="../diagrams/data10.xml"/><Relationship Id="rId9" Type="http://schemas.openxmlformats.org/officeDocument/2006/relationships/diagramData" Target="../diagrams/data11.xml"/></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13" Type="http://schemas.microsoft.com/office/2007/relationships/diagramDrawing" Target="../diagrams/drawing13.xml"/><Relationship Id="rId3" Type="http://schemas.openxmlformats.org/officeDocument/2006/relationships/diagramData" Target="../diagrams/data12.xml"/><Relationship Id="rId7" Type="http://schemas.microsoft.com/office/2007/relationships/diagramDrawing" Target="../diagrams/drawing12.xml"/><Relationship Id="rId12" Type="http://schemas.openxmlformats.org/officeDocument/2006/relationships/diagramColors" Target="../diagrams/colors13.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12.xml"/><Relationship Id="rId11" Type="http://schemas.openxmlformats.org/officeDocument/2006/relationships/diagramQuickStyle" Target="../diagrams/quickStyle13.xml"/><Relationship Id="rId5" Type="http://schemas.openxmlformats.org/officeDocument/2006/relationships/diagramQuickStyle" Target="../diagrams/quickStyle12.xml"/><Relationship Id="rId10" Type="http://schemas.openxmlformats.org/officeDocument/2006/relationships/diagramLayout" Target="../diagrams/layout13.xml"/><Relationship Id="rId4" Type="http://schemas.openxmlformats.org/officeDocument/2006/relationships/diagramLayout" Target="../diagrams/layout12.xml"/><Relationship Id="rId9" Type="http://schemas.openxmlformats.org/officeDocument/2006/relationships/diagramData" Target="../diagrams/data13.xml"/><Relationship Id="rId14" Type="http://schemas.openxmlformats.org/officeDocument/2006/relationships/image" Target="../media/image1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13" Type="http://schemas.openxmlformats.org/officeDocument/2006/relationships/diagramColors" Target="../diagrams/colors2.xml"/><Relationship Id="rId3" Type="http://schemas.openxmlformats.org/officeDocument/2006/relationships/image" Target="../media/image9.png"/><Relationship Id="rId7" Type="http://schemas.openxmlformats.org/officeDocument/2006/relationships/diagramColors" Target="../diagrams/colors1.xml"/><Relationship Id="rId12" Type="http://schemas.openxmlformats.org/officeDocument/2006/relationships/diagramQuickStyle" Target="../diagrams/quickStyle2.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QuickStyle" Target="../diagrams/quickStyle1.xml"/><Relationship Id="rId11" Type="http://schemas.openxmlformats.org/officeDocument/2006/relationships/diagramLayout" Target="../diagrams/layout2.xml"/><Relationship Id="rId5" Type="http://schemas.openxmlformats.org/officeDocument/2006/relationships/diagramLayout" Target="../diagrams/layout1.xml"/><Relationship Id="rId10" Type="http://schemas.openxmlformats.org/officeDocument/2006/relationships/diagramData" Target="../diagrams/data2.xml"/><Relationship Id="rId4" Type="http://schemas.openxmlformats.org/officeDocument/2006/relationships/diagramData" Target="../diagrams/data1.xml"/><Relationship Id="rId9" Type="http://schemas.openxmlformats.org/officeDocument/2006/relationships/image" Target="../media/image8.emf"/><Relationship Id="rId14" Type="http://schemas.microsoft.com/office/2007/relationships/diagramDrawing" Target="../diagrams/drawing2.xml"/></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microsoft.com/office/2007/relationships/diagramDrawing" Target="../diagrams/drawing3.xml"/><Relationship Id="rId13" Type="http://schemas.microsoft.com/office/2007/relationships/diagramDrawing" Target="../diagrams/drawing4.xml"/><Relationship Id="rId3" Type="http://schemas.openxmlformats.org/officeDocument/2006/relationships/image" Target="../media/image10.png"/><Relationship Id="rId7" Type="http://schemas.openxmlformats.org/officeDocument/2006/relationships/diagramColors" Target="../diagrams/colors3.xml"/><Relationship Id="rId12" Type="http://schemas.openxmlformats.org/officeDocument/2006/relationships/diagramColors" Target="../diagrams/colors4.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QuickStyle" Target="../diagrams/quickStyle3.xml"/><Relationship Id="rId11" Type="http://schemas.openxmlformats.org/officeDocument/2006/relationships/diagramQuickStyle" Target="../diagrams/quickStyle4.xml"/><Relationship Id="rId5" Type="http://schemas.openxmlformats.org/officeDocument/2006/relationships/diagramLayout" Target="../diagrams/layout3.xml"/><Relationship Id="rId10" Type="http://schemas.openxmlformats.org/officeDocument/2006/relationships/diagramLayout" Target="../diagrams/layout4.xml"/><Relationship Id="rId4" Type="http://schemas.openxmlformats.org/officeDocument/2006/relationships/diagramData" Target="../diagrams/data3.xml"/><Relationship Id="rId9"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image" Target="../media/image11.png"/><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18228" y="1968966"/>
            <a:ext cx="6719137" cy="4157295"/>
          </a:xfrm>
          <a:prstGeom prst="rect">
            <a:avLst/>
          </a:prstGeom>
        </p:spPr>
      </p:pic>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a:t>variance</a:t>
            </a:r>
            <a:endParaRPr lang="en-CA" dirty="0"/>
          </a:p>
        </p:txBody>
      </p:sp>
      <p:graphicFrame>
        <p:nvGraphicFramePr>
          <p:cNvPr id="9" name="Diagram 8"/>
          <p:cNvGraphicFramePr/>
          <p:nvPr>
            <p:extLst>
              <p:ext uri="{D42A27DB-BD31-4B8C-83A1-F6EECF244321}">
                <p14:modId xmlns:p14="http://schemas.microsoft.com/office/powerpoint/2010/main" val="900434485"/>
              </p:ext>
            </p:extLst>
          </p:nvPr>
        </p:nvGraphicFramePr>
        <p:xfrm>
          <a:off x="5357811" y="2794000"/>
          <a:ext cx="4979303" cy="26402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79EECFDE-9003-4CC7-9C8C-F329BE4A1891}"/>
              </a:ext>
            </a:extLst>
          </p:cNvPr>
          <p:cNvGraphicFramePr/>
          <p:nvPr>
            <p:extLst>
              <p:ext uri="{D42A27DB-BD31-4B8C-83A1-F6EECF244321}">
                <p14:modId xmlns:p14="http://schemas.microsoft.com/office/powerpoint/2010/main" val="1744075336"/>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aphicFrame>
        <p:nvGraphicFramePr>
          <p:cNvPr id="11" name="Diagram 10"/>
          <p:cNvGraphicFramePr/>
          <p:nvPr>
            <p:extLst>
              <p:ext uri="{D42A27DB-BD31-4B8C-83A1-F6EECF244321}">
                <p14:modId xmlns:p14="http://schemas.microsoft.com/office/powerpoint/2010/main" val="2520650077"/>
              </p:ext>
            </p:extLst>
          </p:nvPr>
        </p:nvGraphicFramePr>
        <p:xfrm>
          <a:off x="7840187" y="2078097"/>
          <a:ext cx="3411829" cy="3702148"/>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Tree>
    <p:extLst>
      <p:ext uri="{BB962C8B-B14F-4D97-AF65-F5344CB8AC3E}">
        <p14:creationId xmlns:p14="http://schemas.microsoft.com/office/powerpoint/2010/main" val="1195502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8804CBD-08E6-8B4B-866F-98B31AB87C0C}"/>
              </a:ext>
            </a:extLst>
          </p:cNvPr>
          <p:cNvPicPr>
            <a:picLocks noChangeAspect="1"/>
          </p:cNvPicPr>
          <p:nvPr/>
        </p:nvPicPr>
        <p:blipFill>
          <a:blip r:embed="rId3"/>
          <a:stretch>
            <a:fillRect/>
          </a:stretch>
        </p:blipFill>
        <p:spPr>
          <a:xfrm>
            <a:off x="424454" y="1660914"/>
            <a:ext cx="5964420" cy="4492644"/>
          </a:xfrm>
          <a:prstGeom prst="rect">
            <a:avLst/>
          </a:prstGeom>
        </p:spPr>
      </p:pic>
      <p:sp>
        <p:nvSpPr>
          <p:cNvPr id="4" name="Title 1"/>
          <p:cNvSpPr txBox="1">
            <a:spLocks/>
          </p:cNvSpPr>
          <p:nvPr/>
        </p:nvSpPr>
        <p:spPr>
          <a:xfrm>
            <a:off x="-77788"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ad</a:t>
            </a:r>
          </a:p>
        </p:txBody>
      </p:sp>
      <p:graphicFrame>
        <p:nvGraphicFramePr>
          <p:cNvPr id="9" name="Diagram 8"/>
          <p:cNvGraphicFramePr/>
          <p:nvPr>
            <p:extLst>
              <p:ext uri="{D42A27DB-BD31-4B8C-83A1-F6EECF244321}">
                <p14:modId xmlns:p14="http://schemas.microsoft.com/office/powerpoint/2010/main" val="101760230"/>
              </p:ext>
            </p:extLst>
          </p:nvPr>
        </p:nvGraphicFramePr>
        <p:xfrm>
          <a:off x="6016624" y="1486953"/>
          <a:ext cx="5713414" cy="449264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79EECFDE-9003-4CC7-9C8C-F329BE4A1891}"/>
              </a:ext>
            </a:extLst>
          </p:cNvPr>
          <p:cNvGraphicFramePr/>
          <p:nvPr>
            <p:extLst>
              <p:ext uri="{D42A27DB-BD31-4B8C-83A1-F6EECF244321}">
                <p14:modId xmlns:p14="http://schemas.microsoft.com/office/powerpoint/2010/main" val="2988988486"/>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8010002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77788"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Express </a:t>
            </a:r>
            <a:r>
              <a:rPr lang="en-CA" dirty="0" err="1"/>
              <a:t>NoA</a:t>
            </a:r>
            <a:endParaRPr lang="en-CA" dirty="0"/>
          </a:p>
        </p:txBody>
      </p:sp>
      <p:graphicFrame>
        <p:nvGraphicFramePr>
          <p:cNvPr id="9" name="Diagram 8"/>
          <p:cNvGraphicFramePr/>
          <p:nvPr>
            <p:extLst>
              <p:ext uri="{D42A27DB-BD31-4B8C-83A1-F6EECF244321}">
                <p14:modId xmlns:p14="http://schemas.microsoft.com/office/powerpoint/2010/main" val="2179737882"/>
              </p:ext>
            </p:extLst>
          </p:nvPr>
        </p:nvGraphicFramePr>
        <p:xfrm>
          <a:off x="7841305" y="2141652"/>
          <a:ext cx="2667001" cy="3505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79EECFDE-9003-4CC7-9C8C-F329BE4A1891}"/>
              </a:ext>
            </a:extLst>
          </p:cNvPr>
          <p:cNvGraphicFramePr/>
          <p:nvPr>
            <p:extLst>
              <p:ext uri="{D42A27DB-BD31-4B8C-83A1-F6EECF244321}">
                <p14:modId xmlns:p14="http://schemas.microsoft.com/office/powerpoint/2010/main" val="605499395"/>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0" name="Picture 9">
            <a:extLst>
              <a:ext uri="{FF2B5EF4-FFF2-40B4-BE49-F238E27FC236}">
                <a16:creationId xmlns:a16="http://schemas.microsoft.com/office/drawing/2014/main" id="{4A2503C4-0B07-A444-BE38-8A6663A91F4F}"/>
              </a:ext>
            </a:extLst>
          </p:cNvPr>
          <p:cNvPicPr>
            <a:picLocks noChangeAspect="1"/>
          </p:cNvPicPr>
          <p:nvPr/>
        </p:nvPicPr>
        <p:blipFill>
          <a:blip r:embed="rId14"/>
          <a:stretch>
            <a:fillRect/>
          </a:stretch>
        </p:blipFill>
        <p:spPr>
          <a:xfrm>
            <a:off x="1680519" y="1890497"/>
            <a:ext cx="5215259" cy="4572744"/>
          </a:xfrm>
          <a:prstGeom prst="rect">
            <a:avLst/>
          </a:prstGeom>
        </p:spPr>
      </p:pic>
    </p:spTree>
    <p:extLst>
      <p:ext uri="{BB962C8B-B14F-4D97-AF65-F5344CB8AC3E}">
        <p14:creationId xmlns:p14="http://schemas.microsoft.com/office/powerpoint/2010/main" val="32100269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End</a:t>
            </a:r>
            <a:endParaRPr lang="en-CA" sz="5400" dirty="0"/>
          </a:p>
        </p:txBody>
      </p:sp>
    </p:spTree>
    <p:extLst>
      <p:ext uri="{BB962C8B-B14F-4D97-AF65-F5344CB8AC3E}">
        <p14:creationId xmlns:p14="http://schemas.microsoft.com/office/powerpoint/2010/main" val="194786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7012" y="2514600"/>
            <a:ext cx="8610600" cy="3349542"/>
          </a:xfrm>
        </p:spPr>
        <p:txBody>
          <a:bodyPr/>
          <a:lstStyle/>
          <a:p>
            <a:r>
              <a:rPr lang="en-US" sz="5400" dirty="0"/>
              <a:t>Chapter 8</a:t>
            </a:r>
            <a:br>
              <a:rPr lang="en-US" sz="5400" dirty="0"/>
            </a:br>
            <a:r>
              <a:rPr lang="en-US" sz="5400" dirty="0"/>
              <a:t>Advanced Features</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AF139CB-7579-6D40-826C-5FB0AC372EC7}"/>
              </a:ext>
            </a:extLst>
          </p:cNvPr>
          <p:cNvPicPr>
            <a:picLocks noChangeAspect="1"/>
          </p:cNvPicPr>
          <p:nvPr/>
        </p:nvPicPr>
        <p:blipFill>
          <a:blip r:embed="rId3"/>
          <a:stretch>
            <a:fillRect/>
          </a:stretch>
        </p:blipFill>
        <p:spPr>
          <a:xfrm>
            <a:off x="836612" y="1905000"/>
            <a:ext cx="5003800" cy="4254500"/>
          </a:xfrm>
          <a:prstGeom prst="rect">
            <a:avLst/>
          </a:prstGeom>
        </p:spPr>
      </p:pic>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templates</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spTree>
    <p:extLst>
      <p:ext uri="{BB962C8B-B14F-4D97-AF65-F5344CB8AC3E}">
        <p14:creationId xmlns:p14="http://schemas.microsoft.com/office/powerpoint/2010/main" val="2929092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Graphical user interface, text, application&#10;&#10;Description automatically generated">
            <a:extLst>
              <a:ext uri="{FF2B5EF4-FFF2-40B4-BE49-F238E27FC236}">
                <a16:creationId xmlns:a16="http://schemas.microsoft.com/office/drawing/2014/main" id="{A5BF453C-8D9A-094A-B29B-A313975F09EE}"/>
              </a:ext>
            </a:extLst>
          </p:cNvPr>
          <p:cNvPicPr>
            <a:picLocks noChangeAspect="1"/>
          </p:cNvPicPr>
          <p:nvPr/>
        </p:nvPicPr>
        <p:blipFill>
          <a:blip r:embed="rId3"/>
          <a:stretch>
            <a:fillRect/>
          </a:stretch>
        </p:blipFill>
        <p:spPr>
          <a:xfrm>
            <a:off x="591726" y="1348059"/>
            <a:ext cx="6191236" cy="4389236"/>
          </a:xfrm>
          <a:prstGeom prst="rect">
            <a:avLst/>
          </a:prstGeom>
        </p:spPr>
      </p:pic>
      <p:sp>
        <p:nvSpPr>
          <p:cNvPr id="4"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file template</a:t>
            </a:r>
          </a:p>
        </p:txBody>
      </p:sp>
      <p:graphicFrame>
        <p:nvGraphicFramePr>
          <p:cNvPr id="9" name="Diagram 8"/>
          <p:cNvGraphicFramePr/>
          <p:nvPr>
            <p:extLst>
              <p:ext uri="{D42A27DB-BD31-4B8C-83A1-F6EECF244321}">
                <p14:modId xmlns:p14="http://schemas.microsoft.com/office/powerpoint/2010/main" val="136930935"/>
              </p:ext>
            </p:extLst>
          </p:nvPr>
        </p:nvGraphicFramePr>
        <p:xfrm>
          <a:off x="6364792" y="1187344"/>
          <a:ext cx="5444619" cy="454995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graphicFrame>
        <p:nvGraphicFramePr>
          <p:cNvPr id="7" name="Diagram 6">
            <a:extLst>
              <a:ext uri="{FF2B5EF4-FFF2-40B4-BE49-F238E27FC236}">
                <a16:creationId xmlns:a16="http://schemas.microsoft.com/office/drawing/2014/main" id="{A06EC79D-EC79-4A23-A138-AFA1E5F34E84}"/>
              </a:ext>
            </a:extLst>
          </p:cNvPr>
          <p:cNvGraphicFramePr/>
          <p:nvPr>
            <p:extLst>
              <p:ext uri="{D42A27DB-BD31-4B8C-83A1-F6EECF244321}">
                <p14:modId xmlns:p14="http://schemas.microsoft.com/office/powerpoint/2010/main" val="1690689979"/>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Tree>
    <p:extLst>
      <p:ext uri="{BB962C8B-B14F-4D97-AF65-F5344CB8AC3E}">
        <p14:creationId xmlns:p14="http://schemas.microsoft.com/office/powerpoint/2010/main" val="314596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HyperDocs</a:t>
            </a: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04559" y="375933"/>
            <a:ext cx="1922084" cy="846423"/>
          </a:xfrm>
          <a:prstGeom prst="rect">
            <a:avLst/>
          </a:prstGeom>
        </p:spPr>
      </p:pic>
    </p:spTree>
    <p:extLst>
      <p:ext uri="{BB962C8B-B14F-4D97-AF65-F5344CB8AC3E}">
        <p14:creationId xmlns:p14="http://schemas.microsoft.com/office/powerpoint/2010/main" val="4490565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0D3000A-493C-1941-9790-0B10B93D1F73}"/>
              </a:ext>
            </a:extLst>
          </p:cNvPr>
          <p:cNvPicPr>
            <a:picLocks noChangeAspect="1"/>
          </p:cNvPicPr>
          <p:nvPr/>
        </p:nvPicPr>
        <p:blipFill>
          <a:blip r:embed="rId3"/>
          <a:stretch>
            <a:fillRect/>
          </a:stretch>
        </p:blipFill>
        <p:spPr>
          <a:xfrm>
            <a:off x="1685755" y="1530371"/>
            <a:ext cx="6095999" cy="4437853"/>
          </a:xfrm>
          <a:prstGeom prst="rect">
            <a:avLst/>
          </a:prstGeom>
        </p:spPr>
      </p:pic>
      <p:graphicFrame>
        <p:nvGraphicFramePr>
          <p:cNvPr id="4" name="Content Placeholder 3"/>
          <p:cNvGraphicFramePr>
            <a:graphicFrameLocks noGrp="1"/>
          </p:cNvGraphicFramePr>
          <p:nvPr>
            <p:ph idx="4294967295"/>
            <p:extLst>
              <p:ext uri="{D42A27DB-BD31-4B8C-83A1-F6EECF244321}">
                <p14:modId xmlns:p14="http://schemas.microsoft.com/office/powerpoint/2010/main" val="3449667250"/>
              </p:ext>
            </p:extLst>
          </p:nvPr>
        </p:nvGraphicFramePr>
        <p:xfrm>
          <a:off x="7996238" y="1676400"/>
          <a:ext cx="2822575" cy="575468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1">
            <a:extLst>
              <a:ext uri="{FF2B5EF4-FFF2-40B4-BE49-F238E27FC236}">
                <a16:creationId xmlns:a16="http://schemas.microsoft.com/office/drawing/2014/main" id="{47A2A4B2-F31B-4C99-B944-95D4831CF1D8}"/>
              </a:ext>
            </a:extLst>
          </p:cNvPr>
          <p:cNvSpPr txBox="1">
            <a:spLocks/>
          </p:cNvSpPr>
          <p:nvPr/>
        </p:nvSpPr>
        <p:spPr>
          <a:xfrm>
            <a:off x="1" y="5867400"/>
            <a:ext cx="12038012" cy="800100"/>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err="1"/>
              <a:t>hyperdocs</a:t>
            </a:r>
            <a:endParaRPr lang="en-CA" dirty="0"/>
          </a:p>
        </p:txBody>
      </p:sp>
      <p:graphicFrame>
        <p:nvGraphicFramePr>
          <p:cNvPr id="6" name="Diagram 5">
            <a:extLst>
              <a:ext uri="{FF2B5EF4-FFF2-40B4-BE49-F238E27FC236}">
                <a16:creationId xmlns:a16="http://schemas.microsoft.com/office/drawing/2014/main" id="{A06EC79D-EC79-4A23-A138-AFA1E5F34E84}"/>
              </a:ext>
            </a:extLst>
          </p:cNvPr>
          <p:cNvGraphicFramePr/>
          <p:nvPr>
            <p:extLst>
              <p:ext uri="{D42A27DB-BD31-4B8C-83A1-F6EECF244321}">
                <p14:modId xmlns:p14="http://schemas.microsoft.com/office/powerpoint/2010/main" val="920127323"/>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984195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p:cNvGraphicFramePr/>
          <p:nvPr>
            <p:extLst>
              <p:ext uri="{D42A27DB-BD31-4B8C-83A1-F6EECF244321}">
                <p14:modId xmlns:p14="http://schemas.microsoft.com/office/powerpoint/2010/main" val="416985671"/>
              </p:ext>
            </p:extLst>
          </p:nvPr>
        </p:nvGraphicFramePr>
        <p:xfrm>
          <a:off x="8151812" y="1965623"/>
          <a:ext cx="3200400" cy="38163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itle 1">
            <a:extLst>
              <a:ext uri="{FF2B5EF4-FFF2-40B4-BE49-F238E27FC236}">
                <a16:creationId xmlns:a16="http://schemas.microsoft.com/office/drawing/2014/main" id="{339B5D1E-A387-462A-81BB-75EFB9E3B1EE}"/>
              </a:ext>
            </a:extLst>
          </p:cNvPr>
          <p:cNvSpPr txBox="1">
            <a:spLocks/>
          </p:cNvSpPr>
          <p:nvPr/>
        </p:nvSpPr>
        <p:spPr>
          <a:xfrm>
            <a:off x="123825" y="6083300"/>
            <a:ext cx="12038012" cy="800100"/>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err="1"/>
              <a:t>hyperdocs</a:t>
            </a:r>
            <a:endParaRPr lang="en-CA" dirty="0"/>
          </a:p>
        </p:txBody>
      </p:sp>
      <p:graphicFrame>
        <p:nvGraphicFramePr>
          <p:cNvPr id="8" name="Diagram 7">
            <a:extLst>
              <a:ext uri="{FF2B5EF4-FFF2-40B4-BE49-F238E27FC236}">
                <a16:creationId xmlns:a16="http://schemas.microsoft.com/office/drawing/2014/main" id="{990A1259-9100-C74A-AFC7-C9BC79368900}"/>
              </a:ext>
            </a:extLst>
          </p:cNvPr>
          <p:cNvGraphicFramePr/>
          <p:nvPr>
            <p:extLst>
              <p:ext uri="{D42A27DB-BD31-4B8C-83A1-F6EECF244321}">
                <p14:modId xmlns:p14="http://schemas.microsoft.com/office/powerpoint/2010/main" val="2465423962"/>
              </p:ext>
            </p:extLst>
          </p:nvPr>
        </p:nvGraphicFramePr>
        <p:xfrm>
          <a:off x="455612" y="5348330"/>
          <a:ext cx="1224907" cy="126253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9" name="Picture 8">
            <a:extLst>
              <a:ext uri="{FF2B5EF4-FFF2-40B4-BE49-F238E27FC236}">
                <a16:creationId xmlns:a16="http://schemas.microsoft.com/office/drawing/2014/main" id="{4AA07676-A22C-BD4A-896B-281515055E0C}"/>
              </a:ext>
            </a:extLst>
          </p:cNvPr>
          <p:cNvPicPr>
            <a:picLocks noChangeAspect="1"/>
          </p:cNvPicPr>
          <p:nvPr/>
        </p:nvPicPr>
        <p:blipFill>
          <a:blip r:embed="rId13"/>
          <a:stretch>
            <a:fillRect/>
          </a:stretch>
        </p:blipFill>
        <p:spPr>
          <a:xfrm>
            <a:off x="278412" y="2133600"/>
            <a:ext cx="7517201" cy="4034294"/>
          </a:xfrm>
          <a:prstGeom prst="rect">
            <a:avLst/>
          </a:prstGeom>
        </p:spPr>
      </p:pic>
    </p:spTree>
    <p:extLst>
      <p:ext uri="{BB962C8B-B14F-4D97-AF65-F5344CB8AC3E}">
        <p14:creationId xmlns:p14="http://schemas.microsoft.com/office/powerpoint/2010/main" val="12410901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79613"/>
            <a:ext cx="7085013" cy="2436812"/>
          </a:xfrm>
          <a:prstGeom prst="rect">
            <a:avLst/>
          </a:prstGeom>
        </p:spPr>
        <p:txBody>
          <a:bodyPr/>
          <a:lstStyle/>
          <a:p>
            <a:r>
              <a:rPr lang="en-US" dirty="0"/>
              <a:t>snapshot and variance</a:t>
            </a:r>
          </a:p>
        </p:txBody>
      </p:sp>
    </p:spTree>
    <p:extLst>
      <p:ext uri="{BB962C8B-B14F-4D97-AF65-F5344CB8AC3E}">
        <p14:creationId xmlns:p14="http://schemas.microsoft.com/office/powerpoint/2010/main" val="287885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430</TotalTime>
  <Words>1102</Words>
  <Application>Microsoft Macintosh PowerPoint</Application>
  <PresentationFormat>Custom</PresentationFormat>
  <Paragraphs>123</Paragraphs>
  <Slides>13</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1"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8 Advanced Features</vt:lpstr>
      <vt:lpstr>PowerPoint Presentation</vt:lpstr>
      <vt:lpstr>templates</vt:lpstr>
      <vt:lpstr>PowerPoint Presentation</vt:lpstr>
      <vt:lpstr>HyperDocs</vt:lpstr>
      <vt:lpstr>PowerPoint Presentation</vt:lpstr>
      <vt:lpstr>PowerPoint Presentation</vt:lpstr>
      <vt:lpstr>snapshot and variance</vt:lpstr>
      <vt:lpstr>PowerPoint Presentation</vt:lpstr>
      <vt:lpstr>PowerPoint Presentation</vt:lpstr>
      <vt:lpstr>PowerPoint Presentation</vt:lpstr>
      <vt:lpstr>En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623</cp:revision>
  <cp:lastPrinted>2017-01-10T23:11:41Z</cp:lastPrinted>
  <dcterms:created xsi:type="dcterms:W3CDTF">2014-09-11T15:23:46Z</dcterms:created>
  <dcterms:modified xsi:type="dcterms:W3CDTF">2020-12-13T17:41:02Z</dcterms:modified>
</cp:coreProperties>
</file>